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  <p:sldMasterId id="2147483761" r:id="rId3"/>
    <p:sldMasterId id="2147483774" r:id="rId4"/>
    <p:sldMasterId id="2147483782" r:id="rId5"/>
  </p:sldMasterIdLst>
  <p:notesMasterIdLst>
    <p:notesMasterId r:id="rId24"/>
  </p:notesMasterIdLst>
  <p:handoutMasterIdLst>
    <p:handoutMasterId r:id="rId25"/>
  </p:handoutMasterIdLst>
  <p:sldIdLst>
    <p:sldId id="1277" r:id="rId6"/>
    <p:sldId id="1293" r:id="rId7"/>
    <p:sldId id="1294" r:id="rId8"/>
    <p:sldId id="1296" r:id="rId9"/>
    <p:sldId id="1372" r:id="rId10"/>
    <p:sldId id="1371" r:id="rId11"/>
    <p:sldId id="1373" r:id="rId12"/>
    <p:sldId id="1376" r:id="rId13"/>
    <p:sldId id="1374" r:id="rId14"/>
    <p:sldId id="1375" r:id="rId15"/>
    <p:sldId id="1378" r:id="rId16"/>
    <p:sldId id="1377" r:id="rId17"/>
    <p:sldId id="1380" r:id="rId18"/>
    <p:sldId id="1379" r:id="rId19"/>
    <p:sldId id="1343" r:id="rId20"/>
    <p:sldId id="1344" r:id="rId21"/>
    <p:sldId id="1345" r:id="rId22"/>
    <p:sldId id="1346" r:id="rId23"/>
  </p:sldIdLst>
  <p:sldSz cx="12192000" cy="6858000"/>
  <p:notesSz cx="6950075" cy="92360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FEEC50D9-8969-43BB-8724-35975469CB2C}">
          <p14:sldIdLst>
            <p14:sldId id="1277"/>
            <p14:sldId id="1293"/>
            <p14:sldId id="1294"/>
            <p14:sldId id="1296"/>
            <p14:sldId id="1372"/>
            <p14:sldId id="1371"/>
            <p14:sldId id="1373"/>
            <p14:sldId id="1376"/>
            <p14:sldId id="1374"/>
            <p14:sldId id="1375"/>
            <p14:sldId id="1378"/>
            <p14:sldId id="1377"/>
            <p14:sldId id="1380"/>
            <p14:sldId id="1379"/>
            <p14:sldId id="1343"/>
            <p14:sldId id="1344"/>
            <p14:sldId id="1345"/>
            <p14:sldId id="1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1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575"/>
    <a:srgbClr val="FFDB69"/>
    <a:srgbClr val="FD783D"/>
    <a:srgbClr val="FF572F"/>
    <a:srgbClr val="FF7453"/>
    <a:srgbClr val="FF5D37"/>
    <a:srgbClr val="F1592F"/>
    <a:srgbClr val="FF3300"/>
    <a:srgbClr val="FFD243"/>
    <a:srgbClr val="FF7A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81" autoAdjust="0"/>
    <p:restoredTop sz="94548" autoAdjust="0"/>
  </p:normalViewPr>
  <p:slideViewPr>
    <p:cSldViewPr snapToGrid="0">
      <p:cViewPr varScale="1">
        <p:scale>
          <a:sx n="109" d="100"/>
          <a:sy n="109" d="100"/>
        </p:scale>
        <p:origin x="888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aplikac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Ústecký kraj</c:v>
                </c:pt>
                <c:pt idx="2">
                  <c:v>Plzeňský kraj</c:v>
                </c:pt>
                <c:pt idx="3">
                  <c:v>Jihočeský kraj</c:v>
                </c:pt>
                <c:pt idx="4">
                  <c:v>Jihomoravský kraj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Zlínský kraj</c:v>
                </c:pt>
                <c:pt idx="8">
                  <c:v>ČR</c:v>
                </c:pt>
                <c:pt idx="9">
                  <c:v>Moravskoslezský kraj</c:v>
                </c:pt>
                <c:pt idx="10">
                  <c:v>Olomoucký kraj</c:v>
                </c:pt>
                <c:pt idx="11">
                  <c:v>Karlovarský kraj</c:v>
                </c:pt>
                <c:pt idx="12">
                  <c:v>Středoče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31282346175</c:v>
                </c:pt>
                <c:pt idx="1">
                  <c:v>0.38471760797299998</c:v>
                </c:pt>
                <c:pt idx="2">
                  <c:v>0.36138613861300001</c:v>
                </c:pt>
                <c:pt idx="3">
                  <c:v>0.34577723378199998</c:v>
                </c:pt>
                <c:pt idx="4">
                  <c:v>0.336665333866</c:v>
                </c:pt>
                <c:pt idx="5">
                  <c:v>0.32395950506100002</c:v>
                </c:pt>
                <c:pt idx="6">
                  <c:v>0.29397293972900002</c:v>
                </c:pt>
                <c:pt idx="7">
                  <c:v>0.28492239467800001</c:v>
                </c:pt>
                <c:pt idx="8">
                  <c:v>0.28024832687500001</c:v>
                </c:pt>
                <c:pt idx="9">
                  <c:v>0.251062322946</c:v>
                </c:pt>
                <c:pt idx="10">
                  <c:v>0.23157162726</c:v>
                </c:pt>
                <c:pt idx="11">
                  <c:v>0.22966507177000001</c:v>
                </c:pt>
                <c:pt idx="12">
                  <c:v>0.20201484623499999</c:v>
                </c:pt>
                <c:pt idx="13">
                  <c:v>0.16470588235200001</c:v>
                </c:pt>
                <c:pt idx="14">
                  <c:v>0.159771754635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moravský kraj</c:v>
                </c:pt>
                <c:pt idx="2">
                  <c:v>Středočeský kraj</c:v>
                </c:pt>
                <c:pt idx="3">
                  <c:v>Jihočeský kraj</c:v>
                </c:pt>
                <c:pt idx="4">
                  <c:v>Královéhradecký kraj</c:v>
                </c:pt>
                <c:pt idx="5">
                  <c:v>Pardubický kraj</c:v>
                </c:pt>
                <c:pt idx="6">
                  <c:v>ČR</c:v>
                </c:pt>
                <c:pt idx="7">
                  <c:v>Ústecký kraj</c:v>
                </c:pt>
                <c:pt idx="8">
                  <c:v>Plzeňský kraj</c:v>
                </c:pt>
                <c:pt idx="9">
                  <c:v>Zlínský kraj</c:v>
                </c:pt>
                <c:pt idx="10">
                  <c:v>Olomoucký kraj</c:v>
                </c:pt>
                <c:pt idx="11">
                  <c:v>Moravskoslezský kraj</c:v>
                </c:pt>
                <c:pt idx="12">
                  <c:v>Liberecký kraj</c:v>
                </c:pt>
                <c:pt idx="13">
                  <c:v>Hlavní město Prah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8484848484800003</c:v>
                </c:pt>
                <c:pt idx="1">
                  <c:v>0.43023255813900002</c:v>
                </c:pt>
                <c:pt idx="2">
                  <c:v>0.372807017543</c:v>
                </c:pt>
                <c:pt idx="3">
                  <c:v>0.37062937062899998</c:v>
                </c:pt>
                <c:pt idx="4">
                  <c:v>0.36956521739100001</c:v>
                </c:pt>
                <c:pt idx="5">
                  <c:v>0.35877862595400001</c:v>
                </c:pt>
                <c:pt idx="6">
                  <c:v>0.29667308220999999</c:v>
                </c:pt>
                <c:pt idx="7">
                  <c:v>0.295880149812</c:v>
                </c:pt>
                <c:pt idx="8">
                  <c:v>0.29249011857700002</c:v>
                </c:pt>
                <c:pt idx="9">
                  <c:v>0.289617486338</c:v>
                </c:pt>
                <c:pt idx="10">
                  <c:v>0.26701570680600001</c:v>
                </c:pt>
                <c:pt idx="11">
                  <c:v>0.26326129665999998</c:v>
                </c:pt>
                <c:pt idx="12">
                  <c:v>0.20792079207899999</c:v>
                </c:pt>
                <c:pt idx="13">
                  <c:v>0.19289340101499999</c:v>
                </c:pt>
                <c:pt idx="14">
                  <c:v>0.142857142856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Jihočeský kraj</c:v>
                </c:pt>
                <c:pt idx="1">
                  <c:v>Jihomoravský kraj</c:v>
                </c:pt>
                <c:pt idx="2">
                  <c:v>Kraj Vysočina</c:v>
                </c:pt>
                <c:pt idx="3">
                  <c:v>Středočeský kraj</c:v>
                </c:pt>
                <c:pt idx="4">
                  <c:v>Ústecký kraj</c:v>
                </c:pt>
                <c:pt idx="5">
                  <c:v>Královéhradecký kraj</c:v>
                </c:pt>
                <c:pt idx="6">
                  <c:v>Olomoucký kraj</c:v>
                </c:pt>
                <c:pt idx="7">
                  <c:v>Zlínský kraj</c:v>
                </c:pt>
                <c:pt idx="8">
                  <c:v>Moravskoslezský kraj</c:v>
                </c:pt>
                <c:pt idx="9">
                  <c:v>ČR</c:v>
                </c:pt>
                <c:pt idx="10">
                  <c:v>Pardubický kraj</c:v>
                </c:pt>
                <c:pt idx="11">
                  <c:v>Liberecký kraj</c:v>
                </c:pt>
                <c:pt idx="12">
                  <c:v>Plzeňský kraj</c:v>
                </c:pt>
                <c:pt idx="13">
                  <c:v>Hlavní město Prah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75</c:v>
                </c:pt>
                <c:pt idx="1">
                  <c:v>0.344680851063</c:v>
                </c:pt>
                <c:pt idx="2">
                  <c:v>0.33870967741899999</c:v>
                </c:pt>
                <c:pt idx="3">
                  <c:v>0.25</c:v>
                </c:pt>
                <c:pt idx="4">
                  <c:v>0.247933884297</c:v>
                </c:pt>
                <c:pt idx="5">
                  <c:v>0.23684210526300001</c:v>
                </c:pt>
                <c:pt idx="6">
                  <c:v>0.22302158273299999</c:v>
                </c:pt>
                <c:pt idx="7">
                  <c:v>0.21739130434699999</c:v>
                </c:pt>
                <c:pt idx="8">
                  <c:v>0.210355987055</c:v>
                </c:pt>
                <c:pt idx="9">
                  <c:v>0.19883040935599999</c:v>
                </c:pt>
                <c:pt idx="10">
                  <c:v>0.177419354838</c:v>
                </c:pt>
                <c:pt idx="11">
                  <c:v>0.16049382715999999</c:v>
                </c:pt>
                <c:pt idx="12">
                  <c:v>0.13422818791900001</c:v>
                </c:pt>
                <c:pt idx="13">
                  <c:v>7.5630252100000003E-2</c:v>
                </c:pt>
                <c:pt idx="14">
                  <c:v>6.8181818180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7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3</c:v>
                </c:pt>
                <c:pt idx="17">
                  <c:v>664</c:v>
                </c:pt>
                <c:pt idx="18">
                  <c:v>733</c:v>
                </c:pt>
                <c:pt idx="19">
                  <c:v>795</c:v>
                </c:pt>
                <c:pt idx="20">
                  <c:v>851</c:v>
                </c:pt>
                <c:pt idx="21">
                  <c:v>923</c:v>
                </c:pt>
                <c:pt idx="22">
                  <c:v>930</c:v>
                </c:pt>
                <c:pt idx="23">
                  <c:v>993</c:v>
                </c:pt>
                <c:pt idx="24">
                  <c:v>1175</c:v>
                </c:pt>
                <c:pt idx="25">
                  <c:v>1294</c:v>
                </c:pt>
                <c:pt idx="26">
                  <c:v>1396</c:v>
                </c:pt>
                <c:pt idx="27">
                  <c:v>1391</c:v>
                </c:pt>
                <c:pt idx="28">
                  <c:v>1578</c:v>
                </c:pt>
                <c:pt idx="29">
                  <c:v>1597</c:v>
                </c:pt>
                <c:pt idx="30">
                  <c:v>1731</c:v>
                </c:pt>
                <c:pt idx="31">
                  <c:v>2105</c:v>
                </c:pt>
                <c:pt idx="32">
                  <c:v>2295</c:v>
                </c:pt>
                <c:pt idx="33">
                  <c:v>2495</c:v>
                </c:pt>
                <c:pt idx="34">
                  <c:v>2660</c:v>
                </c:pt>
                <c:pt idx="35">
                  <c:v>2803</c:v>
                </c:pt>
                <c:pt idx="36">
                  <c:v>2802</c:v>
                </c:pt>
                <c:pt idx="37">
                  <c:v>2952</c:v>
                </c:pt>
                <c:pt idx="38">
                  <c:v>3413</c:v>
                </c:pt>
                <c:pt idx="39">
                  <c:v>3610</c:v>
                </c:pt>
                <c:pt idx="40">
                  <c:v>3755</c:v>
                </c:pt>
                <c:pt idx="41">
                  <c:v>3885</c:v>
                </c:pt>
                <c:pt idx="42">
                  <c:v>4049</c:v>
                </c:pt>
                <c:pt idx="43">
                  <c:v>3988</c:v>
                </c:pt>
                <c:pt idx="44">
                  <c:v>4131</c:v>
                </c:pt>
                <c:pt idx="45">
                  <c:v>4789</c:v>
                </c:pt>
                <c:pt idx="46">
                  <c:v>4864</c:v>
                </c:pt>
                <c:pt idx="47">
                  <c:v>4822</c:v>
                </c:pt>
                <c:pt idx="48">
                  <c:v>5188</c:v>
                </c:pt>
                <c:pt idx="49">
                  <c:v>5316</c:v>
                </c:pt>
                <c:pt idx="50">
                  <c:v>5204</c:v>
                </c:pt>
                <c:pt idx="51">
                  <c:v>5419</c:v>
                </c:pt>
                <c:pt idx="52">
                  <c:v>6016</c:v>
                </c:pt>
                <c:pt idx="53">
                  <c:v>6127</c:v>
                </c:pt>
                <c:pt idx="54">
                  <c:v>6218</c:v>
                </c:pt>
                <c:pt idx="55">
                  <c:v>6330</c:v>
                </c:pt>
                <c:pt idx="56">
                  <c:v>6431</c:v>
                </c:pt>
                <c:pt idx="57">
                  <c:v>6214</c:v>
                </c:pt>
                <c:pt idx="58">
                  <c:v>6416</c:v>
                </c:pt>
                <c:pt idx="59">
                  <c:v>7087</c:v>
                </c:pt>
                <c:pt idx="60">
                  <c:v>7023</c:v>
                </c:pt>
                <c:pt idx="61">
                  <c:v>6972</c:v>
                </c:pt>
                <c:pt idx="62">
                  <c:v>7065</c:v>
                </c:pt>
                <c:pt idx="63">
                  <c:v>7035</c:v>
                </c:pt>
                <c:pt idx="64">
                  <c:v>6564</c:v>
                </c:pt>
                <c:pt idx="65">
                  <c:v>6672</c:v>
                </c:pt>
                <c:pt idx="66">
                  <c:v>7129</c:v>
                </c:pt>
                <c:pt idx="67">
                  <c:v>6910</c:v>
                </c:pt>
                <c:pt idx="68">
                  <c:v>6752</c:v>
                </c:pt>
                <c:pt idx="69">
                  <c:v>6576</c:v>
                </c:pt>
                <c:pt idx="70">
                  <c:v>6378</c:v>
                </c:pt>
                <c:pt idx="71">
                  <c:v>5854</c:v>
                </c:pt>
                <c:pt idx="72">
                  <c:v>5883</c:v>
                </c:pt>
                <c:pt idx="73">
                  <c:v>6368</c:v>
                </c:pt>
                <c:pt idx="74">
                  <c:v>6068</c:v>
                </c:pt>
                <c:pt idx="75">
                  <c:v>5798</c:v>
                </c:pt>
                <c:pt idx="76">
                  <c:v>5539</c:v>
                </c:pt>
                <c:pt idx="77">
                  <c:v>5313</c:v>
                </c:pt>
                <c:pt idx="78">
                  <c:v>48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1</c:v>
                </c:pt>
                <c:pt idx="47">
                  <c:v>691</c:v>
                </c:pt>
                <c:pt idx="48">
                  <c:v>716</c:v>
                </c:pt>
                <c:pt idx="49">
                  <c:v>744</c:v>
                </c:pt>
                <c:pt idx="50">
                  <c:v>752</c:v>
                </c:pt>
                <c:pt idx="51">
                  <c:v>781</c:v>
                </c:pt>
                <c:pt idx="52">
                  <c:v>817</c:v>
                </c:pt>
                <c:pt idx="53">
                  <c:v>859</c:v>
                </c:pt>
                <c:pt idx="54">
                  <c:v>866</c:v>
                </c:pt>
                <c:pt idx="55">
                  <c:v>892</c:v>
                </c:pt>
                <c:pt idx="56">
                  <c:v>912</c:v>
                </c:pt>
                <c:pt idx="57">
                  <c:v>929</c:v>
                </c:pt>
                <c:pt idx="58">
                  <c:v>941</c:v>
                </c:pt>
                <c:pt idx="59">
                  <c:v>985</c:v>
                </c:pt>
                <c:pt idx="60">
                  <c:v>990</c:v>
                </c:pt>
                <c:pt idx="61">
                  <c:v>982</c:v>
                </c:pt>
                <c:pt idx="62">
                  <c:v>974</c:v>
                </c:pt>
                <c:pt idx="63">
                  <c:v>969</c:v>
                </c:pt>
                <c:pt idx="64">
                  <c:v>942</c:v>
                </c:pt>
                <c:pt idx="65">
                  <c:v>970</c:v>
                </c:pt>
                <c:pt idx="66">
                  <c:v>992</c:v>
                </c:pt>
                <c:pt idx="67">
                  <c:v>999</c:v>
                </c:pt>
                <c:pt idx="68">
                  <c:v>1000</c:v>
                </c:pt>
                <c:pt idx="69">
                  <c:v>1013</c:v>
                </c:pt>
                <c:pt idx="70">
                  <c:v>983</c:v>
                </c:pt>
                <c:pt idx="71">
                  <c:v>964</c:v>
                </c:pt>
                <c:pt idx="72">
                  <c:v>981</c:v>
                </c:pt>
                <c:pt idx="73">
                  <c:v>999</c:v>
                </c:pt>
                <c:pt idx="74">
                  <c:v>971</c:v>
                </c:pt>
                <c:pt idx="75">
                  <c:v>932</c:v>
                </c:pt>
                <c:pt idx="76">
                  <c:v>880</c:v>
                </c:pt>
                <c:pt idx="77">
                  <c:v>874</c:v>
                </c:pt>
                <c:pt idx="78">
                  <c:v>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936137" y="0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88527-8C78-4670-A74D-468E88FB2658}" type="datetimeFigureOut">
              <a:rPr lang="cs-CZ" smtClean="0"/>
              <a:t>23.12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1" y="8772414"/>
            <a:ext cx="3012300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936137" y="8772414"/>
            <a:ext cx="3012299" cy="4636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D0693-75AC-4F46-BBF1-1CD96A6AD7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04647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936767" y="0"/>
            <a:ext cx="3011700" cy="4634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3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936767" y="8772669"/>
            <a:ext cx="3011700" cy="4634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BFCB68-01F3-4028-943D-0453D67E25ED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419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50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5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4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6" Type="http://schemas.openxmlformats.org/officeDocument/2006/relationships/image" Target="NULL"/><Relationship Id="rId5" Type="http://schemas.openxmlformats.org/officeDocument/2006/relationships/image" Target="../media/image3.png"/><Relationship Id="rId4" Type="http://schemas.openxmlformats.org/officeDocument/2006/relationships/image" Target="NUL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538340"/>
            <a:ext cx="10375900" cy="4568394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4418"/>
            <a:ext cx="432000" cy="4335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838201" y="165100"/>
            <a:ext cx="8001000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cxnSp>
        <p:nvCxnSpPr>
          <p:cNvPr id="13" name="Přímá spojnice 12"/>
          <p:cNvCxnSpPr/>
          <p:nvPr userDrawn="1"/>
        </p:nvCxnSpPr>
        <p:spPr>
          <a:xfrm flipV="1">
            <a:off x="0" y="1085179"/>
            <a:ext cx="12192000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délník 7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0052" y="97662"/>
            <a:ext cx="2661948" cy="9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3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8127997" y="0"/>
            <a:ext cx="406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Obdélník 11"/>
          <p:cNvSpPr/>
          <p:nvPr userDrawn="1"/>
        </p:nvSpPr>
        <p:spPr>
          <a:xfrm>
            <a:off x="8127997" y="4673599"/>
            <a:ext cx="4064003" cy="218440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539003" y="1135062"/>
            <a:ext cx="3241991" cy="1757362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32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pPr lvl="0" algn="ctr"/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1921" y="644672"/>
            <a:ext cx="6483982" cy="5654528"/>
          </a:xfr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cs-CZ" sz="2400" dirty="0" smtClean="0"/>
            </a:lvl1pPr>
          </a:lstStyle>
          <a:p>
            <a:pPr marL="0" lvl="0" indent="0" algn="ctr">
              <a:buNone/>
            </a:pPr>
            <a:r>
              <a:rPr lang="cs-CZ" dirty="0"/>
              <a:t>Kliknutím lze upravit styly předlohy textu.</a:t>
            </a: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10369" y="5986922"/>
            <a:ext cx="2430126" cy="852293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9" name="Přímá spojnice 8"/>
          <p:cNvCxnSpPr/>
          <p:nvPr userDrawn="1"/>
        </p:nvCxnSpPr>
        <p:spPr>
          <a:xfrm flipV="1">
            <a:off x="8128000" y="0"/>
            <a:ext cx="0" cy="685800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Skupina 15"/>
          <p:cNvGrpSpPr/>
          <p:nvPr userDrawn="1"/>
        </p:nvGrpSpPr>
        <p:grpSpPr>
          <a:xfrm>
            <a:off x="9167650" y="3681252"/>
            <a:ext cx="1984694" cy="1984694"/>
            <a:chOff x="-4198256" y="-1833664"/>
            <a:chExt cx="6858000" cy="6858000"/>
          </a:xfrm>
        </p:grpSpPr>
        <p:sp>
          <p:nvSpPr>
            <p:cNvPr id="17" name="Ovál 16"/>
            <p:cNvSpPr/>
            <p:nvPr/>
          </p:nvSpPr>
          <p:spPr>
            <a:xfrm>
              <a:off x="-3308310" y="-943718"/>
              <a:ext cx="5049080" cy="504908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8" name="Obrázek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198256" y="-1833664"/>
              <a:ext cx="6858000" cy="685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4455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délní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Obdélník 1"/>
          <p:cNvSpPr/>
          <p:nvPr userDrawn="1"/>
        </p:nvSpPr>
        <p:spPr>
          <a:xfrm>
            <a:off x="1511300" y="6244853"/>
            <a:ext cx="10680700" cy="6131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44853"/>
            <a:ext cx="1778000" cy="613147"/>
          </a:xfrm>
          <a:prstGeom prst="rect">
            <a:avLst/>
          </a:prstGeom>
        </p:spPr>
      </p:pic>
      <p:grpSp>
        <p:nvGrpSpPr>
          <p:cNvPr id="3" name="Skupina 2"/>
          <p:cNvGrpSpPr/>
          <p:nvPr userDrawn="1"/>
        </p:nvGrpSpPr>
        <p:grpSpPr>
          <a:xfrm>
            <a:off x="11023600" y="5681975"/>
            <a:ext cx="1041400" cy="1074956"/>
            <a:chOff x="10733618" y="5437836"/>
            <a:chExt cx="1375832" cy="1420164"/>
          </a:xfrm>
        </p:grpSpPr>
        <p:sp>
          <p:nvSpPr>
            <p:cNvPr id="8" name="Ovál 7"/>
            <p:cNvSpPr/>
            <p:nvPr userDrawn="1"/>
          </p:nvSpPr>
          <p:spPr>
            <a:xfrm>
              <a:off x="10974122" y="5757656"/>
              <a:ext cx="894824" cy="894824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733618" y="5437836"/>
              <a:ext cx="1375832" cy="14201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8265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052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 userDrawn="1"/>
        </p:nvSpPr>
        <p:spPr>
          <a:xfrm rot="10800000"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65000"/>
                  <a:lumOff val="35000"/>
                </a:schemeClr>
              </a:gs>
              <a:gs pos="27000">
                <a:schemeClr val="tx1">
                  <a:lumMod val="85000"/>
                  <a:lumOff val="15000"/>
                </a:schemeClr>
              </a:gs>
              <a:gs pos="63000">
                <a:srgbClr val="00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94424"/>
            <a:ext cx="2654300" cy="663576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249716"/>
            <a:ext cx="2336800" cy="2336800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délník 1"/>
          <p:cNvSpPr/>
          <p:nvPr userDrawn="1"/>
        </p:nvSpPr>
        <p:spPr>
          <a:xfrm>
            <a:off x="4221769" y="4683938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58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363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74695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6152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30140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5286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75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6826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6204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751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44036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7776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4446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7526199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412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4233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27470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7900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4248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045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325898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242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513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41331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32646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7977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200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4164054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</a:t>
            </a:r>
            <a:r>
              <a:rPr kumimoji="0" lang="cs-CZ" sz="2800" b="0" i="0" u="none" strike="noStrike" kern="1200" cap="none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21892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ázek 3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Obdélník 2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  <a:alpha val="90000"/>
                </a:schemeClr>
              </a:gs>
              <a:gs pos="83000">
                <a:schemeClr val="accent3">
                  <a:lumMod val="45000"/>
                  <a:lumOff val="55000"/>
                  <a:alpha val="90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5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364343" y="3700284"/>
            <a:ext cx="9144000" cy="131522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BA2C1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64341" y="5107060"/>
            <a:ext cx="9144000" cy="99882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lze upravit styl předlohy.</a:t>
            </a:r>
          </a:p>
        </p:txBody>
      </p:sp>
      <p:cxnSp>
        <p:nvCxnSpPr>
          <p:cNvPr id="7" name="Přímá spojnice 6"/>
          <p:cNvCxnSpPr/>
          <p:nvPr userDrawn="1"/>
        </p:nvCxnSpPr>
        <p:spPr>
          <a:xfrm>
            <a:off x="20409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10220324" y="0"/>
            <a:ext cx="1971675" cy="365125"/>
          </a:xfrm>
          <a:noFill/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22" name="Přímá spojnice 21"/>
          <p:cNvCxnSpPr/>
          <p:nvPr userDrawn="1"/>
        </p:nvCxnSpPr>
        <p:spPr>
          <a:xfrm>
            <a:off x="7264966" y="2311382"/>
            <a:ext cx="4910366" cy="0"/>
          </a:xfrm>
          <a:prstGeom prst="line">
            <a:avLst/>
          </a:prstGeom>
          <a:ln w="38100" cap="sq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Obrázek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653" y="1319035"/>
            <a:ext cx="1984694" cy="1984694"/>
          </a:xfrm>
          <a:prstGeom prst="rect">
            <a:avLst/>
          </a:prstGeom>
        </p:spPr>
      </p:pic>
      <p:sp>
        <p:nvSpPr>
          <p:cNvPr id="6" name="Kosoúhelník 5"/>
          <p:cNvSpPr/>
          <p:nvPr userDrawn="1"/>
        </p:nvSpPr>
        <p:spPr>
          <a:xfrm rot="10800000">
            <a:off x="1503900" y="-12894"/>
            <a:ext cx="2438400" cy="900000"/>
          </a:xfrm>
          <a:prstGeom prst="parallelogram">
            <a:avLst>
              <a:gd name="adj" fmla="val 86251"/>
            </a:avLst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6667" y="-12894"/>
            <a:ext cx="280196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8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165100"/>
            <a:ext cx="9379857" cy="908050"/>
          </a:xfrm>
        </p:spPr>
        <p:txBody>
          <a:bodyPr>
            <a:normAutofit/>
          </a:bodyPr>
          <a:lstStyle>
            <a:lvl1pPr>
              <a:defRPr sz="320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755396"/>
            <a:ext cx="10375900" cy="4351338"/>
          </a:xfrm>
        </p:spPr>
        <p:txBody>
          <a:bodyPr/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cxnSp>
        <p:nvCxnSpPr>
          <p:cNvPr id="8" name="Přímá spojnice 7"/>
          <p:cNvCxnSpPr/>
          <p:nvPr userDrawn="1"/>
        </p:nvCxnSpPr>
        <p:spPr>
          <a:xfrm flipV="1">
            <a:off x="0" y="1085178"/>
            <a:ext cx="10218057" cy="1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8"/>
          <p:cNvSpPr/>
          <p:nvPr userDrawn="1"/>
        </p:nvSpPr>
        <p:spPr>
          <a:xfrm>
            <a:off x="11760000" y="6426000"/>
            <a:ext cx="432000" cy="432000"/>
          </a:xfrm>
          <a:prstGeom prst="rect">
            <a:avLst/>
          </a:prstGeom>
          <a:gradFill flip="none" rotWithShape="1">
            <a:gsLst>
              <a:gs pos="0">
                <a:srgbClr val="BA2C1C">
                  <a:shade val="30000"/>
                  <a:satMod val="115000"/>
                </a:srgbClr>
              </a:gs>
              <a:gs pos="50000">
                <a:srgbClr val="BA2C1C">
                  <a:shade val="67500"/>
                  <a:satMod val="115000"/>
                </a:srgbClr>
              </a:gs>
              <a:gs pos="100000">
                <a:srgbClr val="BA2C1C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11760000" y="6426000"/>
            <a:ext cx="432000" cy="432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2" name="Přímá spojnice 11"/>
          <p:cNvCxnSpPr/>
          <p:nvPr userDrawn="1"/>
        </p:nvCxnSpPr>
        <p:spPr>
          <a:xfrm>
            <a:off x="11826903" y="1085177"/>
            <a:ext cx="365097" cy="0"/>
          </a:xfrm>
          <a:prstGeom prst="line">
            <a:avLst/>
          </a:prstGeom>
          <a:ln w="38100" cap="rnd">
            <a:solidFill>
              <a:srgbClr val="BA2C1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9"/>
          <p:cNvSpPr/>
          <p:nvPr userDrawn="1"/>
        </p:nvSpPr>
        <p:spPr>
          <a:xfrm>
            <a:off x="1104900" y="6426000"/>
            <a:ext cx="10655100" cy="43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1" name="Obráze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424417"/>
            <a:ext cx="1257300" cy="433583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781" y="414958"/>
            <a:ext cx="1340438" cy="134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06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  <p:sldLayoutId id="2147483760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32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DA3A0F-9B2E-4AAE-BF10-3AD84EB845DD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.12.20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98F3B7-169A-4902-9743-55F496AD09B8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6622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15636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8644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chart" Target="../charts/chart5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4294967295"/>
          </p:nvPr>
        </p:nvSpPr>
        <p:spPr>
          <a:xfrm>
            <a:off x="11771313" y="6443663"/>
            <a:ext cx="42068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ctrTitle"/>
          </p:nvPr>
        </p:nvSpPr>
        <p:spPr>
          <a:xfrm>
            <a:off x="1368547" y="3690851"/>
            <a:ext cx="9842263" cy="1829090"/>
          </a:xfrm>
        </p:spPr>
        <p:txBody>
          <a:bodyPr>
            <a:normAutofit fontScale="90000"/>
          </a:bodyPr>
          <a:lstStyle/>
          <a:p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ční briefing ICŘT </a:t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cs-CZ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árodní dispečink lůžkové péče</a:t>
            </a:r>
            <a:r>
              <a:rPr lang="cs-CZ" b="1" dirty="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cs-CZ" b="1" i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Podnadpis 2"/>
          <p:cNvSpPr>
            <a:spLocks noGrp="1"/>
          </p:cNvSpPr>
          <p:nvPr>
            <p:ph type="subTitle" idx="1"/>
          </p:nvPr>
        </p:nvSpPr>
        <p:spPr>
          <a:xfrm>
            <a:off x="1659489" y="6344687"/>
            <a:ext cx="9144000" cy="513313"/>
          </a:xfrm>
        </p:spPr>
        <p:txBody>
          <a:bodyPr>
            <a:normAutofit/>
          </a:bodyPr>
          <a:lstStyle/>
          <a:p>
            <a:r>
              <a:rPr lang="cs-CZ" b="1" dirty="0" smtClean="0"/>
              <a:t>23. prosince 2021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384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1743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cs-CZ" sz="1400" i="1" dirty="0">
                <a:solidFill>
                  <a:srgbClr val="000000"/>
                </a:solidFill>
              </a:rPr>
              <a:t>Predikce počtu hospitalizovaných pacientů na základě modelů při parametrech nemoci z období 10/2021–11/2021 pro různé scénáře</a:t>
            </a:r>
            <a:endParaRPr lang="cs-CZ" sz="14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>
                <a:solidFill>
                  <a:prstClr val="black"/>
                </a:solidFill>
                <a:latin typeface="+mj-lt"/>
              </a:rPr>
              <a:t>Česká republika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</a:rPr>
              <a:t>Reálný a predikovaný počet pacientů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prstClr val="black"/>
                </a:solidFill>
                <a:latin typeface="+mj-lt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graphicFrame>
        <p:nvGraphicFramePr>
          <p:cNvPr id="27" name="Tabulka 6">
            <a:extLst>
              <a:ext uri="{FF2B5EF4-FFF2-40B4-BE49-F238E27FC236}">
                <a16:creationId xmlns:a16="http://schemas.microsoft.com/office/drawing/2014/main" id="{7A7640AA-13B5-451C-AEF6-2B181EB7D03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832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hospitalizo-vaných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475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06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9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30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09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3.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 2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8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2.6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 242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2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 9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2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 40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 36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1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 24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0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 34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9.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s kyslíkem: 6 365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8D56B7B0-37BD-4AA9-8F59-CBA3F8B0CB4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76DBC7-988F-44BE-AD05-9B150284BBD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09245847-46EF-424D-AB8A-6EE135F24846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0" name="Přímá spojnice 29">
                <a:extLst>
                  <a:ext uri="{FF2B5EF4-FFF2-40B4-BE49-F238E27FC236}">
                    <a16:creationId xmlns:a16="http://schemas.microsoft.com/office/drawing/2014/main" id="{25BA30A9-728F-4407-8B52-0A716F7F66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3" name="Přímá spojnice 32">
                <a:extLst>
                  <a:ext uri="{FF2B5EF4-FFF2-40B4-BE49-F238E27FC236}">
                    <a16:creationId xmlns:a16="http://schemas.microsoft.com/office/drawing/2014/main" id="{CEC84D62-881C-4471-9C69-71F14E68F3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F80D990D-FF88-4FC5-8A0B-C137D6E84E93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9" name="TextovéPole 28">
                <a:extLst>
                  <a:ext uri="{FF2B5EF4-FFF2-40B4-BE49-F238E27FC236}">
                    <a16:creationId xmlns:a16="http://schemas.microsoft.com/office/drawing/2014/main" id="{5C418FF4-F987-4FE3-BB5C-594BE788F689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B49DD718-7D02-450E-828C-6AE0A49363B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28" name="TextovéPole 27"/>
          <p:cNvSpPr txBox="1"/>
          <p:nvPr/>
        </p:nvSpPr>
        <p:spPr>
          <a:xfrm>
            <a:off x="9803538" y="584009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815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>
            <p:extLst/>
          </p:nvPr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/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</a:t>
            </a:r>
            <a:r>
              <a:rPr lang="cs-CZ" sz="1400" i="1" dirty="0">
                <a:solidFill>
                  <a:srgbClr val="000000"/>
                </a:solidFill>
              </a:rPr>
              <a:t>vyžadujících intenzivní péči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Tabulka 6">
            <a:extLst>
              <a:ext uri="{FF2B5EF4-FFF2-40B4-BE49-F238E27FC236}">
                <a16:creationId xmlns:a16="http://schemas.microsoft.com/office/drawing/2014/main" id="{09959111-8EBE-46FA-A0A1-1F84F67EEDA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66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6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2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8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.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 777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530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.1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0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2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0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osinec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 81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93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4.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2.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8.4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1 079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19" name="TextBox 9">
            <a:extLst>
              <a:ext uri="{FF2B5EF4-FFF2-40B4-BE49-F238E27FC236}">
                <a16:creationId xmlns:a16="http://schemas.microsoft.com/office/drawing/2014/main" id="{5949C18A-7678-4D15-8F6A-EFB24C10C33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479685"/>
            <a:ext cx="2225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a rozsah pravděpodobnostních predikcí 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CAC9764C-1726-4F19-AB7E-2336D49CB3DD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1" name="Skupina 20">
              <a:extLst>
                <a:ext uri="{FF2B5EF4-FFF2-40B4-BE49-F238E27FC236}">
                  <a16:creationId xmlns:a16="http://schemas.microsoft.com/office/drawing/2014/main" id="{29BF8DA5-D892-4FF6-B6E9-9956F758C13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28" name="Přímá spojnice 27">
                <a:extLst>
                  <a:ext uri="{FF2B5EF4-FFF2-40B4-BE49-F238E27FC236}">
                    <a16:creationId xmlns:a16="http://schemas.microsoft.com/office/drawing/2014/main" id="{BE806961-B0B3-412C-BDBD-7D03137D72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9" name="Přímá spojnice 28">
                <a:extLst>
                  <a:ext uri="{FF2B5EF4-FFF2-40B4-BE49-F238E27FC236}">
                    <a16:creationId xmlns:a16="http://schemas.microsoft.com/office/drawing/2014/main" id="{CDA9AEA0-5D67-46A9-AF38-A846F117A5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0" name="Obdélník 29">
                <a:extLst>
                  <a:ext uri="{FF2B5EF4-FFF2-40B4-BE49-F238E27FC236}">
                    <a16:creationId xmlns:a16="http://schemas.microsoft.com/office/drawing/2014/main" id="{A30B6C2C-560A-4CEE-A08B-40B4FF6BBDDC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ovéPole 28">
                <a:extLst>
                  <a:ext uri="{FF2B5EF4-FFF2-40B4-BE49-F238E27FC236}">
                    <a16:creationId xmlns:a16="http://schemas.microsoft.com/office/drawing/2014/main" id="{E60571A8-50D4-42C3-B0BB-CBAC9BCA8D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defRPr/>
                </a:pPr>
                <a:r>
                  <a:rPr lang="cs-CZ" sz="1200" kern="0" dirty="0">
                    <a:solidFill>
                      <a:srgbClr val="000000"/>
                    </a:solidFill>
                  </a:rPr>
                  <a:t>Reálné hodnoty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horní hranice predikce </a:t>
                </a: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třední hodnoty predikce</a:t>
                </a:r>
              </a:p>
              <a:p>
                <a:pPr lvl="0">
                  <a:defRPr/>
                </a:pPr>
                <a:r>
                  <a:rPr lang="cs-CZ" sz="1200" dirty="0">
                    <a:solidFill>
                      <a:srgbClr val="000000"/>
                    </a:solidFill>
                  </a:rPr>
                  <a:t>Rizikový vývoj s významnými zdravotními dopady, </a:t>
                </a:r>
                <a:r>
                  <a:rPr lang="cs-CZ" sz="1200" u="sng" dirty="0">
                    <a:solidFill>
                      <a:srgbClr val="000000"/>
                    </a:solidFill>
                  </a:rPr>
                  <a:t>spodní hranice predikce </a:t>
                </a: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  <a:p>
                <a:pPr lvl="0">
                  <a:defRPr/>
                </a:pPr>
                <a:endParaRPr lang="cs-CZ" sz="1200" u="sng" dirty="0">
                  <a:solidFill>
                    <a:srgbClr val="000000"/>
                  </a:solidFill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5BF47050-791D-4300-9498-18BA71B847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14">
            <a:extLst>
              <a:ext uri="{FF2B5EF4-FFF2-40B4-BE49-F238E27FC236}">
                <a16:creationId xmlns:a16="http://schemas.microsoft.com/office/drawing/2014/main" id="{8B80AF5B-6410-486D-B0DE-FA5358B46AD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7" name="TextovéPole 26"/>
          <p:cNvSpPr txBox="1"/>
          <p:nvPr/>
        </p:nvSpPr>
        <p:spPr>
          <a:xfrm>
            <a:off x="9803538" y="5840098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5819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64DB608-673A-46BD-8E5E-BDC00F478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42" y="88247"/>
            <a:ext cx="9885238" cy="896492"/>
          </a:xfrm>
        </p:spPr>
        <p:txBody>
          <a:bodyPr>
            <a:normAutofit fontScale="90000"/>
          </a:bodyPr>
          <a:lstStyle/>
          <a:p>
            <a:r>
              <a:rPr lang="cs-CZ" dirty="0"/>
              <a:t>VÝVOJ POČTU HOSPITALIZACÍ – CELKOVÉ A JIP – OD BŘEZNA 2020</a:t>
            </a:r>
            <a:br>
              <a:rPr lang="cs-CZ" dirty="0"/>
            </a:br>
            <a:r>
              <a:rPr kumimoji="0" lang="cs-CZ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zdroj: ÚZIS,</a:t>
            </a:r>
            <a:r>
              <a:rPr kumimoji="0" lang="nl-NL" sz="2000" b="0" i="0" u="none" strike="noStrike" kern="1200" cap="all" spc="10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ISIN / COVID-19 - Informační systém 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infekční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ch</a:t>
            </a:r>
            <a:r>
              <a:rPr kumimoji="0" lang="nl-NL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 nemoc</a:t>
            </a:r>
            <a:r>
              <a:rPr kumimoji="0" lang="cs-CZ" sz="2000" b="0" i="0" u="none" strike="noStrike" kern="1200" cap="all" spc="10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cs typeface="+mj-cs"/>
              </a:rPr>
              <a:t>í</a:t>
            </a:r>
            <a:endParaRPr lang="cs-CZ" sz="2000" b="0" cap="all" spc="100" dirty="0">
              <a:solidFill>
                <a:prstClr val="black">
                  <a:lumMod val="95000"/>
                  <a:lumOff val="5000"/>
                </a:prstClr>
              </a:solidFill>
              <a:latin typeface="Tw Cen MT Condensed" panose="020B0606020104020203"/>
              <a:cs typeface="+mj-cs"/>
            </a:endParaRPr>
          </a:p>
        </p:txBody>
      </p:sp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708448"/>
              </p:ext>
            </p:extLst>
          </p:nvPr>
        </p:nvGraphicFramePr>
        <p:xfrm>
          <a:off x="8663881" y="3497478"/>
          <a:ext cx="3311505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  <a:gridCol w="1111139">
                  <a:extLst>
                    <a:ext uri="{9D8B030D-6E8A-4147-A177-3AD203B41FA5}">
                      <a16:colId xmlns:a16="http://schemas.microsoft.com/office/drawing/2014/main" val="2408753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.12.202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12.2021</a:t>
                      </a:r>
                      <a:endParaRPr lang="cs-CZ" sz="13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2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568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6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9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sp>
        <p:nvSpPr>
          <p:cNvPr id="7" name="Obdélník 6"/>
          <p:cNvSpPr/>
          <p:nvPr/>
        </p:nvSpPr>
        <p:spPr>
          <a:xfrm>
            <a:off x="8663616" y="1992616"/>
            <a:ext cx="33117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k </a:t>
            </a:r>
            <a:r>
              <a:rPr lang="cs-CZ" b="1" dirty="0" smtClean="0">
                <a:solidFill>
                  <a:srgbClr val="000000"/>
                </a:solidFill>
                <a:latin typeface="Arial" panose="020B0604020202020204"/>
              </a:rPr>
              <a:t>19.1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2021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ovídala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srovnání s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ulým rokem datům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</a:t>
            </a:r>
            <a:r>
              <a:rPr lang="cs-CZ" b="1" dirty="0">
                <a:solidFill>
                  <a:srgbClr val="000000"/>
                </a:solidFill>
                <a:latin typeface="Arial" panose="020B0604020202020204"/>
              </a:rPr>
              <a:t>28.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2020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E4305667-7252-438B-B0A2-AF7DB9A9ED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5198689"/>
              </p:ext>
            </p:extLst>
          </p:nvPr>
        </p:nvGraphicFramePr>
        <p:xfrm>
          <a:off x="9219318" y="4914531"/>
          <a:ext cx="22003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3329">
                  <a:extLst>
                    <a:ext uri="{9D8B030D-6E8A-4147-A177-3AD203B41FA5}">
                      <a16:colId xmlns:a16="http://schemas.microsoft.com/office/drawing/2014/main" val="1970852530"/>
                    </a:ext>
                  </a:extLst>
                </a:gridCol>
                <a:gridCol w="1087037">
                  <a:extLst>
                    <a:ext uri="{9D8B030D-6E8A-4147-A177-3AD203B41FA5}">
                      <a16:colId xmlns:a16="http://schemas.microsoft.com/office/drawing/2014/main" val="6678893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. počet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3.2021</a:t>
                      </a:r>
                      <a:endParaRPr lang="cs-CZ" sz="13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278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spitaliza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 551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6097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 toho JIP</a:t>
                      </a:r>
                      <a:endParaRPr lang="cs-CZ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 886</a:t>
                      </a:r>
                      <a:endParaRPr lang="cs-CZ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070508"/>
                  </a:ext>
                </a:extLst>
              </a:tr>
            </a:tbl>
          </a:graphicData>
        </a:graphic>
      </p:graphicFrame>
      <p:pic>
        <p:nvPicPr>
          <p:cNvPr id="9" name="Zástupný obsah 9">
            <a:extLst>
              <a:ext uri="{FF2B5EF4-FFF2-40B4-BE49-F238E27FC236}">
                <a16:creationId xmlns:a16="http://schemas.microsoft.com/office/drawing/2014/main" id="{BA0A6603-F197-4D06-B945-0D4FBF0860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9469" y="914400"/>
            <a:ext cx="8414239" cy="548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9549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isk </a:t>
            </a:r>
            <a:r>
              <a:rPr lang="cs-CZ" dirty="0" err="1"/>
              <a:t>mapping</a:t>
            </a:r>
            <a:r>
              <a:rPr lang="cs-CZ" dirty="0"/>
              <a:t> – zdroj </a:t>
            </a:r>
            <a:r>
              <a:rPr lang="cs-CZ" dirty="0" smtClean="0"/>
              <a:t>UZIS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219914" y="951378"/>
            <a:ext cx="9998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nově hospitalizovaných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COVID-19 v následujících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 dnech z aktuálního prevalenčního poolu.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313127"/>
              </p:ext>
            </p:extLst>
          </p:nvPr>
        </p:nvGraphicFramePr>
        <p:xfrm>
          <a:off x="3134561" y="1485449"/>
          <a:ext cx="4919192" cy="4765469"/>
        </p:xfrm>
        <a:graphic>
          <a:graphicData uri="http://schemas.openxmlformats.org/drawingml/2006/table">
            <a:tbl>
              <a:tblPr/>
              <a:tblGrid>
                <a:gridCol w="2175798">
                  <a:extLst>
                    <a:ext uri="{9D8B030D-6E8A-4147-A177-3AD203B41FA5}">
                      <a16:colId xmlns:a16="http://schemas.microsoft.com/office/drawing/2014/main" val="2283760119"/>
                    </a:ext>
                  </a:extLst>
                </a:gridCol>
                <a:gridCol w="2743394">
                  <a:extLst>
                    <a:ext uri="{9D8B030D-6E8A-4147-A177-3AD203B41FA5}">
                      <a16:colId xmlns:a16="http://schemas.microsoft.com/office/drawing/2014/main" val="1182091541"/>
                    </a:ext>
                  </a:extLst>
                </a:gridCol>
              </a:tblGrid>
              <a:tr h="9649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dhad počtu nově hospitalizovaných z nově pozitivních za posledních 14 dní (do 10 dnů od hodnoceného data, odečteni již hospitalizovaní)</a:t>
                      </a:r>
                    </a:p>
                  </a:txBody>
                  <a:tcPr marL="9103" marR="9103" marT="9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27477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363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85210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813539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613277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55046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1486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59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02972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479038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90642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855839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665130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472455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6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416366"/>
                  </a:ext>
                </a:extLst>
              </a:tr>
              <a:tr h="241361">
                <a:tc>
                  <a:txBody>
                    <a:bodyPr/>
                    <a:lstStyle/>
                    <a:p>
                      <a:pPr algn="l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108000" marR="9525" marT="952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7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8913107"/>
                  </a:ext>
                </a:extLst>
              </a:tr>
            </a:tbl>
          </a:graphicData>
        </a:graphic>
      </p:graphicFrame>
      <p:sp>
        <p:nvSpPr>
          <p:cNvPr id="6" name="TextovéPole 5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4776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5763891"/>
              </p:ext>
            </p:extLst>
          </p:nvPr>
        </p:nvGraphicFramePr>
        <p:xfrm>
          <a:off x="332646" y="832094"/>
          <a:ext cx="11405086" cy="4722464"/>
        </p:xfrm>
        <a:graphic>
          <a:graphicData uri="http://schemas.openxmlformats.org/drawingml/2006/table">
            <a:tbl>
              <a:tblPr firstRow="1" firstCol="1" bandRow="1"/>
              <a:tblGrid>
                <a:gridCol w="1399893">
                  <a:extLst>
                    <a:ext uri="{9D8B030D-6E8A-4147-A177-3AD203B41FA5}">
                      <a16:colId xmlns:a16="http://schemas.microsoft.com/office/drawing/2014/main" val="139736479"/>
                    </a:ext>
                  </a:extLst>
                </a:gridCol>
                <a:gridCol w="2170199">
                  <a:extLst>
                    <a:ext uri="{9D8B030D-6E8A-4147-A177-3AD203B41FA5}">
                      <a16:colId xmlns:a16="http://schemas.microsoft.com/office/drawing/2014/main" val="1590847519"/>
                    </a:ext>
                  </a:extLst>
                </a:gridCol>
                <a:gridCol w="2420126">
                  <a:extLst>
                    <a:ext uri="{9D8B030D-6E8A-4147-A177-3AD203B41FA5}">
                      <a16:colId xmlns:a16="http://schemas.microsoft.com/office/drawing/2014/main" val="2576979814"/>
                    </a:ext>
                  </a:extLst>
                </a:gridCol>
                <a:gridCol w="1959490">
                  <a:extLst>
                    <a:ext uri="{9D8B030D-6E8A-4147-A177-3AD203B41FA5}">
                      <a16:colId xmlns:a16="http://schemas.microsoft.com/office/drawing/2014/main" val="2056688962"/>
                    </a:ext>
                  </a:extLst>
                </a:gridCol>
                <a:gridCol w="3455378">
                  <a:extLst>
                    <a:ext uri="{9D8B030D-6E8A-4147-A177-3AD203B41FA5}">
                      <a16:colId xmlns:a16="http://schemas.microsoft.com/office/drawing/2014/main" val="573671383"/>
                    </a:ext>
                  </a:extLst>
                </a:gridCol>
              </a:tblGrid>
              <a:tr h="7403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206147"/>
                  </a:ext>
                </a:extLst>
              </a:tr>
              <a:tr h="13127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l. m. Prah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dochází k omezení fungování oddělení ve prospěch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vidových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jednotek, omezení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 20%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trvale kapacitní problémy FTN a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KV, ostatní navyšují kapacity dle potřeby, snaha o maximální zachování</a:t>
                      </a:r>
                      <a:b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30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ivy</a:t>
                      </a:r>
                      <a:r>
                        <a:rPr lang="cs-CZ" sz="13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cs-CZ" sz="1300" b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TN a </a:t>
                      </a:r>
                      <a:r>
                        <a:rPr lang="cs-CZ" sz="1300" b="0" kern="1200" baseline="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mocnice na Bulovce hlásí kapacitní problémy na IP.</a:t>
                      </a:r>
                      <a:endParaRPr lang="cs-CZ" sz="1300" b="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312754"/>
                  </a:ext>
                </a:extLst>
              </a:tr>
              <a:tr h="1792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dubi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ní provoz je nadále plně zastaven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Onkologická aj. neodkladná operativa běží bez omezení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se ale pozvolna zlepšuje, alespoň z pohledu standardních oddělení, maximalizovány kapacity standardní i intenzivní péče, rezerva lůžek zůstává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iziková je nadále intenzivní péče.</a:t>
                      </a:r>
                      <a:endParaRPr lang="cs-CZ" sz="1300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805074"/>
                  </a:ext>
                </a:extLst>
              </a:tr>
              <a:tr h="8770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álovéhrad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upný pokles zátěže, kapacity t.č. neredukovány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8501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80660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8902339"/>
              </p:ext>
            </p:extLst>
          </p:nvPr>
        </p:nvGraphicFramePr>
        <p:xfrm>
          <a:off x="279292" y="841021"/>
          <a:ext cx="11587543" cy="5751205"/>
        </p:xfrm>
        <a:graphic>
          <a:graphicData uri="http://schemas.openxmlformats.org/drawingml/2006/table">
            <a:tbl>
              <a:tblPr firstRow="1" firstCol="1" bandRow="1"/>
              <a:tblGrid>
                <a:gridCol w="1422287">
                  <a:extLst>
                    <a:ext uri="{9D8B030D-6E8A-4147-A177-3AD203B41FA5}">
                      <a16:colId xmlns:a16="http://schemas.microsoft.com/office/drawing/2014/main" val="2516720382"/>
                    </a:ext>
                  </a:extLst>
                </a:gridCol>
                <a:gridCol w="2204916">
                  <a:extLst>
                    <a:ext uri="{9D8B030D-6E8A-4147-A177-3AD203B41FA5}">
                      <a16:colId xmlns:a16="http://schemas.microsoft.com/office/drawing/2014/main" val="2538168158"/>
                    </a:ext>
                  </a:extLst>
                </a:gridCol>
                <a:gridCol w="2458844">
                  <a:extLst>
                    <a:ext uri="{9D8B030D-6E8A-4147-A177-3AD203B41FA5}">
                      <a16:colId xmlns:a16="http://schemas.microsoft.com/office/drawing/2014/main" val="1374489751"/>
                    </a:ext>
                  </a:extLst>
                </a:gridCol>
                <a:gridCol w="2112580">
                  <a:extLst>
                    <a:ext uri="{9D8B030D-6E8A-4147-A177-3AD203B41FA5}">
                      <a16:colId xmlns:a16="http://schemas.microsoft.com/office/drawing/2014/main" val="2988357666"/>
                    </a:ext>
                  </a:extLst>
                </a:gridCol>
                <a:gridCol w="3388916">
                  <a:extLst>
                    <a:ext uri="{9D8B030D-6E8A-4147-A177-3AD203B41FA5}">
                      <a16:colId xmlns:a16="http://schemas.microsoft.com/office/drawing/2014/main" val="3364315349"/>
                    </a:ext>
                  </a:extLst>
                </a:gridCol>
              </a:tblGrid>
              <a:tr h="5910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793804"/>
                  </a:ext>
                </a:extLst>
              </a:tr>
              <a:tr h="11889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berec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kapacity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n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pacienty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, ale i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zhledem k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profilizac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lůžkové kapacity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á možnost překladů již neinfekčních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. Pokles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ů ve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nd.péč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ale setrvale zatížená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.péče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ro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pacienty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838243"/>
                  </a:ext>
                </a:extLst>
              </a:tr>
              <a:tr h="1382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mouc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cca na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omezená cca 40-50%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P - vysoká, ale t.č. konstantní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ložnost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částečně podíl vysoké mortality v IP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jištěn akutní provoz (neodkladné stavy,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nkoopera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vá problém s nedostatkem kvalifikovaného personálu zejména v IP. 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932507"/>
                  </a:ext>
                </a:extLst>
              </a:tr>
              <a:tr h="13999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zeňský 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uálně pokles počtu hospitalizovaných ve standardní péči. V rámci Intenzivní péče dochází ke kumulaci pacientů s potřebou ventilační podpory i </a:t>
                      </a:r>
                      <a:r>
                        <a:rPr lang="cs-CZ" sz="1300" b="0" i="0" kern="1200" dirty="0" err="1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COV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vypadávají z oficiálních statistik, ale stále blokují lůžka vyšší IP!!)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řetrvává omezení operativy na akutní a nutnou onkologickou.</a:t>
                      </a: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50780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8965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0652582"/>
              </p:ext>
            </p:extLst>
          </p:nvPr>
        </p:nvGraphicFramePr>
        <p:xfrm>
          <a:off x="323851" y="638008"/>
          <a:ext cx="11519385" cy="6106704"/>
        </p:xfrm>
        <a:graphic>
          <a:graphicData uri="http://schemas.openxmlformats.org/drawingml/2006/table">
            <a:tbl>
              <a:tblPr firstRow="1" firstCol="1" bandRow="1"/>
              <a:tblGrid>
                <a:gridCol w="1413921">
                  <a:extLst>
                    <a:ext uri="{9D8B030D-6E8A-4147-A177-3AD203B41FA5}">
                      <a16:colId xmlns:a16="http://schemas.microsoft.com/office/drawing/2014/main" val="3772522195"/>
                    </a:ext>
                  </a:extLst>
                </a:gridCol>
                <a:gridCol w="2191947">
                  <a:extLst>
                    <a:ext uri="{9D8B030D-6E8A-4147-A177-3AD203B41FA5}">
                      <a16:colId xmlns:a16="http://schemas.microsoft.com/office/drawing/2014/main" val="842899262"/>
                    </a:ext>
                  </a:extLst>
                </a:gridCol>
                <a:gridCol w="2444381">
                  <a:extLst>
                    <a:ext uri="{9D8B030D-6E8A-4147-A177-3AD203B41FA5}">
                      <a16:colId xmlns:a16="http://schemas.microsoft.com/office/drawing/2014/main" val="105783194"/>
                    </a:ext>
                  </a:extLst>
                </a:gridCol>
                <a:gridCol w="2100154">
                  <a:extLst>
                    <a:ext uri="{9D8B030D-6E8A-4147-A177-3AD203B41FA5}">
                      <a16:colId xmlns:a16="http://schemas.microsoft.com/office/drawing/2014/main" val="3894075409"/>
                    </a:ext>
                  </a:extLst>
                </a:gridCol>
                <a:gridCol w="3368982">
                  <a:extLst>
                    <a:ext uri="{9D8B030D-6E8A-4147-A177-3AD203B41FA5}">
                      <a16:colId xmlns:a16="http://schemas.microsoft.com/office/drawing/2014/main" val="2922963808"/>
                    </a:ext>
                  </a:extLst>
                </a:gridCol>
              </a:tblGrid>
              <a:tr h="6031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164548"/>
                  </a:ext>
                </a:extLst>
              </a:tr>
              <a:tr h="7406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lovarský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mocnice Sokolov – zcela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a el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ktivní operativ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287979"/>
                  </a:ext>
                </a:extLst>
              </a:tr>
              <a:tr h="747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če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e méně pacientů na HFNO, ale </a:t>
                      </a:r>
                      <a:r>
                        <a:rPr lang="cs-CZ" sz="1300" b="0" i="0" kern="12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ní se JIP + ARO s pacienty na UPV</a:t>
                      </a:r>
                      <a:endParaRPr lang="cs-CZ" sz="13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967152"/>
                  </a:ext>
                </a:extLst>
              </a:tr>
              <a:tr h="1357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ředočeský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lkové hodnocení situace – zatím bez potřeby přesunů pacientů mimo spádovou oblas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mezení operativy je nerovnoměrné, někde pouze akutní operativa, jinde ještě omezení do 20%. Souhrnně mezi C/D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623958"/>
                  </a:ext>
                </a:extLst>
              </a:tr>
              <a:tr h="1134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homorav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y nyní již celoplošně v JMK.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yjovská nemocnice vyhlásila HPO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N Brno omezuje ambulantní péči</a:t>
                      </a:r>
                      <a:r>
                        <a:rPr lang="cs-CZ" sz="1300" b="0" baseline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 důvodu </a:t>
                      </a:r>
                      <a:r>
                        <a:rPr lang="cs-CZ" sz="1300" b="0" dirty="0" smtClean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dostatek personálu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írné zlepšení situace</a:t>
                      </a:r>
                      <a:r>
                        <a:rPr lang="cs-CZ" sz="13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bez potřeby mezikrajských překladů.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363" marR="52363" marT="77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02855"/>
                  </a:ext>
                </a:extLst>
              </a:tr>
              <a:tr h="1150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ysočin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 - vyčerpány lidské i materiální zdroj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přímo řízených nemocnicích kraje (Jihlava, Pelhřimov, Havlíčkův Brod, Třebíč, Nové Město n/M) obdobná situace.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nes plná nemocnice Nové Město n/M. hrozí překlady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IPových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vid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pacientů, zatím v rámci krajských nemocnic.</a:t>
                      </a:r>
                      <a:endParaRPr lang="cs-CZ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47" marR="47947" marT="705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981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93951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0760" y="-5332"/>
            <a:ext cx="7440022" cy="576000"/>
          </a:xfrm>
        </p:spPr>
        <p:txBody>
          <a:bodyPr/>
          <a:lstStyle/>
          <a:p>
            <a:r>
              <a:rPr lang="cs-CZ" dirty="0"/>
              <a:t>Hodnocení situace v krajích od KKIP</a:t>
            </a:r>
            <a:endParaRPr lang="cs-CZ" dirty="0">
              <a:solidFill>
                <a:srgbClr val="00FF00"/>
              </a:solidFill>
            </a:endParaRP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494973"/>
              </p:ext>
            </p:extLst>
          </p:nvPr>
        </p:nvGraphicFramePr>
        <p:xfrm>
          <a:off x="372867" y="838718"/>
          <a:ext cx="11435203" cy="5212442"/>
        </p:xfrm>
        <a:graphic>
          <a:graphicData uri="http://schemas.openxmlformats.org/drawingml/2006/table">
            <a:tbl>
              <a:tblPr firstRow="1" firstCol="1" bandRow="1"/>
              <a:tblGrid>
                <a:gridCol w="1403588">
                  <a:extLst>
                    <a:ext uri="{9D8B030D-6E8A-4147-A177-3AD203B41FA5}">
                      <a16:colId xmlns:a16="http://schemas.microsoft.com/office/drawing/2014/main" val="3544378427"/>
                    </a:ext>
                  </a:extLst>
                </a:gridCol>
                <a:gridCol w="2175930">
                  <a:extLst>
                    <a:ext uri="{9D8B030D-6E8A-4147-A177-3AD203B41FA5}">
                      <a16:colId xmlns:a16="http://schemas.microsoft.com/office/drawing/2014/main" val="2335077237"/>
                    </a:ext>
                  </a:extLst>
                </a:gridCol>
                <a:gridCol w="2426518">
                  <a:extLst>
                    <a:ext uri="{9D8B030D-6E8A-4147-A177-3AD203B41FA5}">
                      <a16:colId xmlns:a16="http://schemas.microsoft.com/office/drawing/2014/main" val="1383355635"/>
                    </a:ext>
                  </a:extLst>
                </a:gridCol>
                <a:gridCol w="2084806">
                  <a:extLst>
                    <a:ext uri="{9D8B030D-6E8A-4147-A177-3AD203B41FA5}">
                      <a16:colId xmlns:a16="http://schemas.microsoft.com/office/drawing/2014/main" val="142418389"/>
                    </a:ext>
                  </a:extLst>
                </a:gridCol>
                <a:gridCol w="3344361">
                  <a:extLst>
                    <a:ext uri="{9D8B030D-6E8A-4147-A177-3AD203B41FA5}">
                      <a16:colId xmlns:a16="http://schemas.microsoft.com/office/drawing/2014/main" val="413358982"/>
                    </a:ext>
                  </a:extLst>
                </a:gridCol>
              </a:tblGrid>
              <a:tr h="624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lední aktualizace: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É HODNOCENÍ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KÁLNÍ HODNOCENÍ SITUACE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ÁLNÍ A MATERIÁLNÍ VYBAVENÍ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POPIS SITUACE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D0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208484"/>
                  </a:ext>
                </a:extLst>
              </a:tr>
              <a:tr h="12678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stecký</a:t>
                      </a:r>
                      <a:endParaRPr lang="cs-CZ" sz="13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 - zásadně zhoršená, zvládnutelná lokálně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je zásadně omezená elektivní operativa (o více než 50%)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gnace počtu C19 hospitalizovaných na standardních odděleních i v intenzivní péči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éči se daří zajistit za cenu omezení elektivní péče i výpomoci AČR/HZS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712985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ín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</a:t>
                      </a:r>
                      <a:r>
                        <a:rPr lang="cs-CZ" sz="13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IPy</a:t>
                      </a: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lné</a:t>
                      </a: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kraji je pokles denního lineární nárůstu o cca 5-7 pacientů denně na standardních odd.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tím méně na JIP, ty jsou plné především v menších nemocnicích (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alMez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Vsetín, U.H.)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blém personálu je ve všech zařízeních – extrémní v </a:t>
                      </a:r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.Hradišt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180 PN, z toho 48 pro COVID).</a:t>
                      </a:r>
                      <a:endParaRPr lang="cs-CZ" sz="1300" b="0" i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4770" marR="6477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31413"/>
                  </a:ext>
                </a:extLst>
              </a:tr>
              <a:tr h="1041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ravskoslezský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12.21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mírně krizová, je v silách KKIP vyřešit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 - nemocnice v regionu na hraně svých kapacit, elektivní péče v podstatě zastavena, JIPy plné</a:t>
                      </a:r>
                      <a:endParaRPr lang="cs-CZ" sz="13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57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3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 - chybí personál, při jeho navýšení je možné provozovat další lůžka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ektiva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zastavená.</a:t>
                      </a:r>
                    </a:p>
                    <a:p>
                      <a:r>
                        <a:rPr lang="cs-CZ" sz="13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ezinemocničními</a:t>
                      </a:r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ransporty v rámci kraje.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tuace akt. “stabilizovaná“ – snížil se počet nově přijímaných COVID pacientů. </a:t>
                      </a:r>
                    </a:p>
                    <a:p>
                      <a:endParaRPr lang="cs-CZ" sz="1300" b="0" i="0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cs-CZ" sz="1300" b="0" i="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 IP problém s velkým počtem post-COVID pacientů.</a:t>
                      </a:r>
                      <a:endParaRPr lang="cs-CZ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050" marR="61050" marT="8978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715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94208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1"/>
            <a:ext cx="11038993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771770" y="2788977"/>
            <a:ext cx="292330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Obsazená lůžka IP C+ pacienty k </a:t>
            </a:r>
          </a:p>
          <a:p>
            <a:pPr algn="ctr"/>
            <a:r>
              <a:rPr lang="cs-CZ" b="1" dirty="0"/>
              <a:t>23.12.2021 00:25</a:t>
            </a:r>
          </a:p>
          <a:p>
            <a:pPr algn="ctr"/>
            <a:endParaRPr lang="cs-CZ" b="1" dirty="0"/>
          </a:p>
          <a:p>
            <a:pPr algn="ctr"/>
            <a:r>
              <a:rPr lang="cs-CZ" b="1" dirty="0" smtClean="0"/>
              <a:t>797</a:t>
            </a:r>
          </a:p>
          <a:p>
            <a:pPr algn="ctr"/>
            <a:endParaRPr lang="cs-CZ" sz="2000" b="1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1610334"/>
              </p:ext>
            </p:extLst>
          </p:nvPr>
        </p:nvGraphicFramePr>
        <p:xfrm>
          <a:off x="332818" y="1007105"/>
          <a:ext cx="9066161" cy="5348847"/>
        </p:xfrm>
        <a:graphic>
          <a:graphicData uri="http://schemas.openxmlformats.org/drawingml/2006/table">
            <a:tbl>
              <a:tblPr/>
              <a:tblGrid>
                <a:gridCol w="1924513">
                  <a:extLst>
                    <a:ext uri="{9D8B030D-6E8A-4147-A177-3AD203B41FA5}">
                      <a16:colId xmlns:a16="http://schemas.microsoft.com/office/drawing/2014/main" val="606114545"/>
                    </a:ext>
                  </a:extLst>
                </a:gridCol>
                <a:gridCol w="1178273">
                  <a:extLst>
                    <a:ext uri="{9D8B030D-6E8A-4147-A177-3AD203B41FA5}">
                      <a16:colId xmlns:a16="http://schemas.microsoft.com/office/drawing/2014/main" val="2007645854"/>
                    </a:ext>
                  </a:extLst>
                </a:gridCol>
                <a:gridCol w="1089903">
                  <a:extLst>
                    <a:ext uri="{9D8B030D-6E8A-4147-A177-3AD203B41FA5}">
                      <a16:colId xmlns:a16="http://schemas.microsoft.com/office/drawing/2014/main" val="3501658808"/>
                    </a:ext>
                  </a:extLst>
                </a:gridCol>
                <a:gridCol w="1086631">
                  <a:extLst>
                    <a:ext uri="{9D8B030D-6E8A-4147-A177-3AD203B41FA5}">
                      <a16:colId xmlns:a16="http://schemas.microsoft.com/office/drawing/2014/main" val="2915324723"/>
                    </a:ext>
                  </a:extLst>
                </a:gridCol>
                <a:gridCol w="1125906">
                  <a:extLst>
                    <a:ext uri="{9D8B030D-6E8A-4147-A177-3AD203B41FA5}">
                      <a16:colId xmlns:a16="http://schemas.microsoft.com/office/drawing/2014/main" val="3043485173"/>
                    </a:ext>
                  </a:extLst>
                </a:gridCol>
                <a:gridCol w="1129179">
                  <a:extLst>
                    <a:ext uri="{9D8B030D-6E8A-4147-A177-3AD203B41FA5}">
                      <a16:colId xmlns:a16="http://schemas.microsoft.com/office/drawing/2014/main" val="3684256850"/>
                    </a:ext>
                  </a:extLst>
                </a:gridCol>
                <a:gridCol w="1531756">
                  <a:extLst>
                    <a:ext uri="{9D8B030D-6E8A-4147-A177-3AD203B41FA5}">
                      <a16:colId xmlns:a16="http://schemas.microsoft.com/office/drawing/2014/main" val="2582205082"/>
                    </a:ext>
                  </a:extLst>
                </a:gridCol>
              </a:tblGrid>
              <a:tr h="17885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oddělení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6977756"/>
                  </a:ext>
                </a:extLst>
              </a:tr>
              <a:tr h="17885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(ARO + JIP) v ČR k 23.12. 2021, 11:30 h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029568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7207006"/>
                  </a:ext>
                </a:extLst>
              </a:tr>
              <a:tr h="1660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ůžka IP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3653104"/>
                  </a:ext>
                </a:extLst>
              </a:tr>
              <a:tr h="64516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704032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265283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399722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019994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1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3995222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8962808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039353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8942392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6500502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8415727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0661600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3487471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257323"/>
                  </a:ext>
                </a:extLst>
              </a:tr>
              <a:tr h="15969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7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814845"/>
                  </a:ext>
                </a:extLst>
              </a:tr>
              <a:tr h="17246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1441080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40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9</a:t>
                      </a: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5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6388" marR="6388" marT="638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9663341"/>
                  </a:ext>
                </a:extLst>
              </a:tr>
              <a:tr h="159694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7371564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661882"/>
                  </a:ext>
                </a:extLst>
              </a:tr>
              <a:tr h="149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8900180"/>
                  </a:ext>
                </a:extLst>
              </a:tr>
              <a:tr h="15969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x</a:t>
                      </a: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8" marR="6388" marT="638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70392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 smtClean="0"/>
              <a:t>Národní dispečink lůžkové péče</a:t>
            </a:r>
            <a:endParaRPr lang="cs-CZ" sz="28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8888286" y="3247654"/>
            <a:ext cx="2923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IP jsou umístěna na neinfekčních odděleních IP.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5443791"/>
              </p:ext>
            </p:extLst>
          </p:nvPr>
        </p:nvGraphicFramePr>
        <p:xfrm>
          <a:off x="332817" y="988466"/>
          <a:ext cx="9004614" cy="5350475"/>
        </p:xfrm>
        <a:graphic>
          <a:graphicData uri="http://schemas.openxmlformats.org/drawingml/2006/table">
            <a:tbl>
              <a:tblPr/>
              <a:tblGrid>
                <a:gridCol w="1911448">
                  <a:extLst>
                    <a:ext uri="{9D8B030D-6E8A-4147-A177-3AD203B41FA5}">
                      <a16:colId xmlns:a16="http://schemas.microsoft.com/office/drawing/2014/main" val="1070385107"/>
                    </a:ext>
                  </a:extLst>
                </a:gridCol>
                <a:gridCol w="1170277">
                  <a:extLst>
                    <a:ext uri="{9D8B030D-6E8A-4147-A177-3AD203B41FA5}">
                      <a16:colId xmlns:a16="http://schemas.microsoft.com/office/drawing/2014/main" val="3453500754"/>
                    </a:ext>
                  </a:extLst>
                </a:gridCol>
                <a:gridCol w="1082504">
                  <a:extLst>
                    <a:ext uri="{9D8B030D-6E8A-4147-A177-3AD203B41FA5}">
                      <a16:colId xmlns:a16="http://schemas.microsoft.com/office/drawing/2014/main" val="772984269"/>
                    </a:ext>
                  </a:extLst>
                </a:gridCol>
                <a:gridCol w="1079253">
                  <a:extLst>
                    <a:ext uri="{9D8B030D-6E8A-4147-A177-3AD203B41FA5}">
                      <a16:colId xmlns:a16="http://schemas.microsoft.com/office/drawing/2014/main" val="1188880540"/>
                    </a:ext>
                  </a:extLst>
                </a:gridCol>
                <a:gridCol w="1118263">
                  <a:extLst>
                    <a:ext uri="{9D8B030D-6E8A-4147-A177-3AD203B41FA5}">
                      <a16:colId xmlns:a16="http://schemas.microsoft.com/office/drawing/2014/main" val="1111261301"/>
                    </a:ext>
                  </a:extLst>
                </a:gridCol>
                <a:gridCol w="1121512">
                  <a:extLst>
                    <a:ext uri="{9D8B030D-6E8A-4147-A177-3AD203B41FA5}">
                      <a16:colId xmlns:a16="http://schemas.microsoft.com/office/drawing/2014/main" val="1471245861"/>
                    </a:ext>
                  </a:extLst>
                </a:gridCol>
                <a:gridCol w="1521357">
                  <a:extLst>
                    <a:ext uri="{9D8B030D-6E8A-4147-A177-3AD203B41FA5}">
                      <a16:colId xmlns:a16="http://schemas.microsoft.com/office/drawing/2014/main" val="491546515"/>
                    </a:ext>
                  </a:extLst>
                </a:gridCol>
              </a:tblGrid>
              <a:tr h="170264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ekční oddělení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1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1824572"/>
                  </a:ext>
                </a:extLst>
              </a:tr>
              <a:tr h="17922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lůžek IP na Infekčním oddělení (ARO + JIP) v ČR k 23.12. 2021, 11:30 h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1110069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1999160"/>
                  </a:ext>
                </a:extLst>
              </a:tr>
              <a:tr h="166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ůžka IP na Infekčním oddělení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1575651"/>
                  </a:ext>
                </a:extLst>
              </a:tr>
              <a:tr h="64649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IP lůžek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HFNO+UPV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HFNO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JIP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FNO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UPV</a:t>
                      </a:r>
                      <a:b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RO)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V pro Covid+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609379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331603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9316235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184783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756369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620750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6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418408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5673457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81179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4588151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208863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2657394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9237126"/>
                  </a:ext>
                </a:extLst>
              </a:tr>
              <a:tr h="1600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3805371"/>
                  </a:ext>
                </a:extLst>
              </a:tr>
              <a:tr h="16642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669352"/>
                  </a:ext>
                </a:extLst>
              </a:tr>
              <a:tr h="17282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401" marR="6401" marT="64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4508409"/>
                  </a:ext>
                </a:extLst>
              </a:tr>
              <a:tr h="160023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0930957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1184594"/>
                  </a:ext>
                </a:extLst>
              </a:tr>
              <a:tr h="14978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elkových kapacit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712416"/>
                  </a:ext>
                </a:extLst>
              </a:tr>
              <a:tr h="16002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mocnice s aktualizací starší 48 hod.: 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x</a:t>
                      </a: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01" marR="6401" marT="640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6471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23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2818" y="0"/>
            <a:ext cx="9885238" cy="896492"/>
          </a:xfrm>
        </p:spPr>
        <p:txBody>
          <a:bodyPr/>
          <a:lstStyle/>
          <a:p>
            <a:r>
              <a:rPr lang="cs-CZ" sz="2800" dirty="0"/>
              <a:t>Národní dispečink lůžkové péč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67693" y="2123615"/>
            <a:ext cx="278602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Obsazená standardní</a:t>
            </a:r>
          </a:p>
          <a:p>
            <a:pPr algn="ctr"/>
            <a:r>
              <a:rPr lang="cs-CZ" b="1" dirty="0"/>
              <a:t> lůžka C+ </a:t>
            </a:r>
            <a:r>
              <a:rPr lang="cs-CZ" b="1" dirty="0" smtClean="0"/>
              <a:t>pacienty k 23.12.2021 00:25</a:t>
            </a:r>
          </a:p>
          <a:p>
            <a:pPr algn="ctr"/>
            <a:endParaRPr lang="cs-CZ" b="1" dirty="0"/>
          </a:p>
          <a:p>
            <a:pPr algn="ctr"/>
            <a:r>
              <a:rPr lang="cs-CZ" sz="2000" b="1" dirty="0" smtClean="0"/>
              <a:t>3 656</a:t>
            </a:r>
            <a:endParaRPr lang="cs-CZ" sz="2000" b="1" dirty="0"/>
          </a:p>
        </p:txBody>
      </p:sp>
      <p:sp>
        <p:nvSpPr>
          <p:cNvPr id="3" name="TextovéPole 2"/>
          <p:cNvSpPr txBox="1"/>
          <p:nvPr/>
        </p:nvSpPr>
        <p:spPr>
          <a:xfrm>
            <a:off x="9326849" y="4071853"/>
            <a:ext cx="24677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* Izolační </a:t>
            </a:r>
            <a:r>
              <a:rPr lang="cs-CZ" sz="1600" b="1" dirty="0" smtClean="0"/>
              <a:t>lůžka </a:t>
            </a:r>
            <a:r>
              <a:rPr lang="cs-CZ" sz="1600" b="1" dirty="0"/>
              <a:t>s kyslíkem jsou umístěna na standardních odděleních.</a:t>
            </a: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7436207"/>
              </p:ext>
            </p:extLst>
          </p:nvPr>
        </p:nvGraphicFramePr>
        <p:xfrm>
          <a:off x="394364" y="976828"/>
          <a:ext cx="8591373" cy="5309784"/>
        </p:xfrm>
        <a:graphic>
          <a:graphicData uri="http://schemas.openxmlformats.org/drawingml/2006/table">
            <a:tbl>
              <a:tblPr/>
              <a:tblGrid>
                <a:gridCol w="1746190">
                  <a:extLst>
                    <a:ext uri="{9D8B030D-6E8A-4147-A177-3AD203B41FA5}">
                      <a16:colId xmlns:a16="http://schemas.microsoft.com/office/drawing/2014/main" val="3386669129"/>
                    </a:ext>
                  </a:extLst>
                </a:gridCol>
                <a:gridCol w="1069096">
                  <a:extLst>
                    <a:ext uri="{9D8B030D-6E8A-4147-A177-3AD203B41FA5}">
                      <a16:colId xmlns:a16="http://schemas.microsoft.com/office/drawing/2014/main" val="1898130208"/>
                    </a:ext>
                  </a:extLst>
                </a:gridCol>
                <a:gridCol w="988912">
                  <a:extLst>
                    <a:ext uri="{9D8B030D-6E8A-4147-A177-3AD203B41FA5}">
                      <a16:colId xmlns:a16="http://schemas.microsoft.com/office/drawing/2014/main" val="223811855"/>
                    </a:ext>
                  </a:extLst>
                </a:gridCol>
                <a:gridCol w="985944">
                  <a:extLst>
                    <a:ext uri="{9D8B030D-6E8A-4147-A177-3AD203B41FA5}">
                      <a16:colId xmlns:a16="http://schemas.microsoft.com/office/drawing/2014/main" val="3703432887"/>
                    </a:ext>
                  </a:extLst>
                </a:gridCol>
                <a:gridCol w="1021581">
                  <a:extLst>
                    <a:ext uri="{9D8B030D-6E8A-4147-A177-3AD203B41FA5}">
                      <a16:colId xmlns:a16="http://schemas.microsoft.com/office/drawing/2014/main" val="1067723951"/>
                    </a:ext>
                  </a:extLst>
                </a:gridCol>
                <a:gridCol w="1389825">
                  <a:extLst>
                    <a:ext uri="{9D8B030D-6E8A-4147-A177-3AD203B41FA5}">
                      <a16:colId xmlns:a16="http://schemas.microsoft.com/office/drawing/2014/main" val="1428419830"/>
                    </a:ext>
                  </a:extLst>
                </a:gridCol>
                <a:gridCol w="97357">
                  <a:extLst>
                    <a:ext uri="{9D8B030D-6E8A-4147-A177-3AD203B41FA5}">
                      <a16:colId xmlns:a16="http://schemas.microsoft.com/office/drawing/2014/main" val="2218771124"/>
                    </a:ext>
                  </a:extLst>
                </a:gridCol>
                <a:gridCol w="1292468">
                  <a:extLst>
                    <a:ext uri="{9D8B030D-6E8A-4147-A177-3AD203B41FA5}">
                      <a16:colId xmlns:a16="http://schemas.microsoft.com/office/drawing/2014/main" val="1259049378"/>
                    </a:ext>
                  </a:extLst>
                </a:gridCol>
              </a:tblGrid>
              <a:tr h="185107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infekční a infekční oddělení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5467704"/>
                  </a:ext>
                </a:extLst>
              </a:tr>
              <a:tr h="18510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hled kapacit standardních lůžek s přívodem kyslíku v ČR k 23.12. 2021, 11:30 h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9334605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3547550"/>
                  </a:ext>
                </a:extLst>
              </a:tr>
              <a:tr h="18510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dní lůžka s O</a:t>
                      </a:r>
                      <a:r>
                        <a:rPr lang="cs-CZ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ndartní lůžka na Infekčním oddělení s O</a:t>
                      </a:r>
                      <a:r>
                        <a:rPr lang="pl-PL" sz="13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9300247"/>
                  </a:ext>
                </a:extLst>
              </a:tr>
              <a:tr h="50243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kapacita lůžek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ná lůžka na Infekčním oddělení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pro Covid+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6703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. m. Praha 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66718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8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306901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7582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9530305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635821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0919957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476916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792538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01412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3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1842600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3111184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2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099303"/>
                  </a:ext>
                </a:extLst>
              </a:tr>
              <a:tr h="16527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699025"/>
                  </a:ext>
                </a:extLst>
              </a:tr>
              <a:tr h="1718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9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4035423"/>
                  </a:ext>
                </a:extLst>
              </a:tr>
              <a:tr h="17849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é kapacity ČR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4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640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13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2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1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6611" marR="6611" marT="661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CF8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</a:t>
                      </a:r>
                    </a:p>
                  </a:txBody>
                  <a:tcPr marL="6611" marR="6611" marT="661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734692"/>
                  </a:ext>
                </a:extLst>
              </a:tr>
              <a:tr h="165274">
                <a:tc gridSpan="8"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Zdroj: Online databáze NDLP ÚZIS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8174815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8254906"/>
                  </a:ext>
                </a:extLst>
              </a:tr>
              <a:tr h="15469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a: 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- 5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- 3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- 2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- 10,1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9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- 0 %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ch kapacit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5414859"/>
                  </a:ext>
                </a:extLst>
              </a:tr>
              <a:tr h="165274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pl-PL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s aktualizací starší 48 hod.: 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x</a:t>
                      </a: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11" marR="6611" marT="661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9358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31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eaktualizovaná ZZ v DIP déle než 48 h</a:t>
            </a:r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8617671" y="4968723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daje jsou aktuální k 23.12.2021 11:30</a:t>
            </a:r>
            <a:endParaRPr lang="cs-CZ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492165" y="2702611"/>
            <a:ext cx="3099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Žádáme všechna ZZ o aktualizaci volných lůžkových kapacit každý den i během víkendů a svátků.</a:t>
            </a:r>
            <a:endParaRPr lang="cs-CZ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578635"/>
              </p:ext>
            </p:extLst>
          </p:nvPr>
        </p:nvGraphicFramePr>
        <p:xfrm>
          <a:off x="1257036" y="1497791"/>
          <a:ext cx="5744400" cy="3609970"/>
        </p:xfrm>
        <a:graphic>
          <a:graphicData uri="http://schemas.openxmlformats.org/drawingml/2006/table">
            <a:tbl>
              <a:tblPr/>
              <a:tblGrid>
                <a:gridCol w="3584455">
                  <a:extLst>
                    <a:ext uri="{9D8B030D-6E8A-4147-A177-3AD203B41FA5}">
                      <a16:colId xmlns:a16="http://schemas.microsoft.com/office/drawing/2014/main" val="107433437"/>
                    </a:ext>
                  </a:extLst>
                </a:gridCol>
                <a:gridCol w="596402">
                  <a:extLst>
                    <a:ext uri="{9D8B030D-6E8A-4147-A177-3AD203B41FA5}">
                      <a16:colId xmlns:a16="http://schemas.microsoft.com/office/drawing/2014/main" val="4164856319"/>
                    </a:ext>
                  </a:extLst>
                </a:gridCol>
                <a:gridCol w="1563543">
                  <a:extLst>
                    <a:ext uri="{9D8B030D-6E8A-4147-A177-3AD203B41FA5}">
                      <a16:colId xmlns:a16="http://schemas.microsoft.com/office/drawing/2014/main" val="3820816568"/>
                    </a:ext>
                  </a:extLst>
                </a:gridCol>
              </a:tblGrid>
              <a:tr h="318130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dravotnické zařízení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tualizace</a:t>
                      </a:r>
                    </a:p>
                  </a:txBody>
                  <a:tcPr marL="7034" marR="7034" marT="7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834143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todská</a:t>
                      </a:r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 nemocnice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.12.2021 9:09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546986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mocnice Nové Město na Moravě, </a:t>
                      </a:r>
                      <a:r>
                        <a:rPr lang="cs-CZ" sz="1400" b="0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.o</a:t>
                      </a:r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VYS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.12.2021 20:3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89447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Písek, a.s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H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2.2021 10:54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5483184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Hospitals, s.r.o., Nemocnice Brandýs n/L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 11:27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793974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ymburk s.r.o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C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 11:32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68947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Z, a.s., Nemocnice Děčín,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.z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LK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 14:5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7196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Thomayerova nemocnic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 16:58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888615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v Motol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12.2021 20:5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6704426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itut klinické a experimentální medicíny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9525" marR="9525" marT="76200" marB="762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2.2021 6:46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247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1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19809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– Stav očkování u hospitalizovaných pacientů</a:t>
            </a:r>
            <a:endParaRPr lang="cs-CZ" sz="2800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3006580"/>
              </p:ext>
            </p:extLst>
          </p:nvPr>
        </p:nvGraphicFramePr>
        <p:xfrm>
          <a:off x="905440" y="1861611"/>
          <a:ext cx="8652072" cy="32678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18">
                  <a:extLst>
                    <a:ext uri="{9D8B030D-6E8A-4147-A177-3AD203B41FA5}">
                      <a16:colId xmlns:a16="http://schemas.microsoft.com/office/drawing/2014/main" val="2672105997"/>
                    </a:ext>
                  </a:extLst>
                </a:gridCol>
                <a:gridCol w="149527">
                  <a:extLst>
                    <a:ext uri="{9D8B030D-6E8A-4147-A177-3AD203B41FA5}">
                      <a16:colId xmlns:a16="http://schemas.microsoft.com/office/drawing/2014/main" val="2565829457"/>
                    </a:ext>
                  </a:extLst>
                </a:gridCol>
                <a:gridCol w="2013491">
                  <a:extLst>
                    <a:ext uri="{9D8B030D-6E8A-4147-A177-3AD203B41FA5}">
                      <a16:colId xmlns:a16="http://schemas.microsoft.com/office/drawing/2014/main" val="4257011553"/>
                    </a:ext>
                  </a:extLst>
                </a:gridCol>
                <a:gridCol w="2329909">
                  <a:extLst>
                    <a:ext uri="{9D8B030D-6E8A-4147-A177-3AD203B41FA5}">
                      <a16:colId xmlns:a16="http://schemas.microsoft.com/office/drawing/2014/main" val="3540943450"/>
                    </a:ext>
                  </a:extLst>
                </a:gridCol>
                <a:gridCol w="729761">
                  <a:extLst>
                    <a:ext uri="{9D8B030D-6E8A-4147-A177-3AD203B41FA5}">
                      <a16:colId xmlns:a16="http://schemas.microsoft.com/office/drawing/2014/main" val="1484824574"/>
                    </a:ext>
                  </a:extLst>
                </a:gridCol>
                <a:gridCol w="1266366">
                  <a:extLst>
                    <a:ext uri="{9D8B030D-6E8A-4147-A177-3AD203B41FA5}">
                      <a16:colId xmlns:a16="http://schemas.microsoft.com/office/drawing/2014/main" val="15660643"/>
                    </a:ext>
                  </a:extLst>
                </a:gridCol>
              </a:tblGrid>
              <a:tr h="451806">
                <a:tc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cs-CZ" sz="1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tav</a:t>
                      </a:r>
                      <a:r>
                        <a:rPr lang="cs-CZ" sz="1300" b="0" i="0" baseline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k 23.12.2021 00:25 h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2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300" b="0" i="0" dirty="0" smtClean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Zdroj: ÚZIS</a:t>
                      </a:r>
                      <a:endParaRPr lang="cs-CZ" sz="1300" b="0" i="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070743"/>
                  </a:ext>
                </a:extLst>
              </a:tr>
              <a:tr h="557021">
                <a:tc gridSpan="6"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Celkem hospitalizovaných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PAC C+                   </a:t>
                      </a:r>
                      <a:r>
                        <a:rPr lang="cs-CZ" sz="2400" b="1" baseline="0" dirty="0" smtClean="0">
                          <a:latin typeface="+mj-lt"/>
                          <a:cs typeface="Calibri" panose="020F0502020204030204" pitchFamily="34" charset="0"/>
                        </a:rPr>
                        <a:t>4 453</a:t>
                      </a:r>
                      <a:endParaRPr lang="cs-CZ" sz="24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92961"/>
                  </a:ext>
                </a:extLst>
              </a:tr>
              <a:tr h="451806">
                <a:tc gridSpan="3">
                  <a:txBody>
                    <a:bodyPr/>
                    <a:lstStyle/>
                    <a:p>
                      <a:pPr algn="ct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63122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očkovaní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2 341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2,6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JIP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797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1675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Nedokončené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63   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,6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neočkovaní</a:t>
                      </a:r>
                      <a:endParaRPr lang="cs-CZ" sz="14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537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 (67,4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755086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Dokončené očko.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1 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560</a:t>
                      </a:r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35,6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AC na standart O2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cs-CZ" sz="1600" b="1" baseline="0" dirty="0" smtClean="0">
                          <a:latin typeface="+mj-lt"/>
                          <a:cs typeface="Calibri" panose="020F0502020204030204" pitchFamily="34" charset="0"/>
                        </a:rPr>
                        <a:t> 656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0843188"/>
                  </a:ext>
                </a:extLst>
              </a:tr>
              <a:tr h="451806">
                <a:tc gridSpan="2">
                  <a:txBody>
                    <a:bodyPr/>
                    <a:lstStyle/>
                    <a:p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Posilovací dávka</a:t>
                      </a:r>
                      <a:endParaRPr lang="cs-CZ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 389  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8,7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latin typeface="+mj-lt"/>
                          <a:cs typeface="Calibri" panose="020F0502020204030204" pitchFamily="34" charset="0"/>
                        </a:rPr>
                        <a:t>z toho neočkovaní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cs-CZ" sz="1600" b="1" dirty="0" smtClean="0">
                          <a:latin typeface="+mj-lt"/>
                          <a:cs typeface="Calibri" panose="020F0502020204030204" pitchFamily="34" charset="0"/>
                        </a:rPr>
                        <a:t>1 838 </a:t>
                      </a:r>
                      <a:r>
                        <a:rPr lang="cs-CZ" sz="1600" b="0" dirty="0" smtClean="0">
                          <a:latin typeface="+mj-lt"/>
                          <a:cs typeface="Calibri" panose="020F0502020204030204" pitchFamily="34" charset="0"/>
                        </a:rPr>
                        <a:t>(50,3 %)</a:t>
                      </a:r>
                      <a:endParaRPr lang="cs-CZ" sz="1600" b="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6608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53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857" y="237394"/>
            <a:ext cx="9885238" cy="896492"/>
          </a:xfrm>
        </p:spPr>
        <p:txBody>
          <a:bodyPr>
            <a:normAutofit/>
          </a:bodyPr>
          <a:lstStyle/>
          <a:p>
            <a:r>
              <a:rPr lang="cs-CZ" dirty="0" smtClean="0"/>
              <a:t>NDLP </a:t>
            </a:r>
            <a:r>
              <a:rPr lang="cs-CZ" dirty="0"/>
              <a:t>-</a:t>
            </a:r>
            <a:r>
              <a:rPr lang="cs-CZ" dirty="0" smtClean="0"/>
              <a:t> Souhrn - aktualizace</a:t>
            </a:r>
            <a:endParaRPr lang="cs-CZ" sz="2800" dirty="0"/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6535567"/>
              </p:ext>
            </p:extLst>
          </p:nvPr>
        </p:nvGraphicFramePr>
        <p:xfrm>
          <a:off x="803513" y="1619682"/>
          <a:ext cx="4777098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199">
                  <a:extLst>
                    <a:ext uri="{9D8B030D-6E8A-4147-A177-3AD203B41FA5}">
                      <a16:colId xmlns:a16="http://schemas.microsoft.com/office/drawing/2014/main" val="2209585095"/>
                    </a:ext>
                  </a:extLst>
                </a:gridCol>
                <a:gridCol w="2033899">
                  <a:extLst>
                    <a:ext uri="{9D8B030D-6E8A-4147-A177-3AD203B41FA5}">
                      <a16:colId xmlns:a16="http://schemas.microsoft.com/office/drawing/2014/main" val="3513835546"/>
                    </a:ext>
                  </a:extLst>
                </a:gridCol>
              </a:tblGrid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acity lůžkové péče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k 23.12.202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62031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4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8489001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ná kapacit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,5 %</a:t>
                      </a:r>
                      <a:endParaRPr lang="cs-CZ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842585"/>
                  </a:ext>
                </a:extLst>
              </a:tr>
              <a:tr h="317652">
                <a:tc>
                  <a:txBody>
                    <a:bodyPr/>
                    <a:lstStyle/>
                    <a:p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sazenost C+ pac. na JIP</a:t>
                      </a:r>
                      <a:endParaRPr lang="cs-CZ" sz="1600" b="1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9 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3387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687313" y="3263615"/>
            <a:ext cx="1095370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alší informace - aktualizace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Za 22.12. bylo 252 nově přijatých C+ pacientů a </a:t>
            </a:r>
            <a:r>
              <a:rPr lang="cs-CZ" dirty="0" smtClean="0"/>
              <a:t>500 post-COVID propuštěných.</a:t>
            </a:r>
            <a:endParaRPr lang="cs-CZ" dirty="0">
              <a:solidFill>
                <a:prstClr val="black"/>
              </a:solidFill>
              <a:latin typeface="Segoe U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R"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KKIP – bez požadavků na mezikrajové překlady. Situace v krajích neměnná (omezený personál, zastavená </a:t>
            </a:r>
            <a:r>
              <a:rPr lang="cs-CZ" dirty="0" err="1" smtClean="0">
                <a:solidFill>
                  <a:prstClr val="black"/>
                </a:solidFill>
                <a:latin typeface="Segoe UI"/>
              </a:rPr>
              <a:t>elektiva</a:t>
            </a:r>
            <a:r>
              <a:rPr lang="cs-CZ" dirty="0" smtClean="0">
                <a:solidFill>
                  <a:prstClr val="black"/>
                </a:solidFill>
                <a:latin typeface="Segoe UI"/>
              </a:rPr>
              <a:t>), ale dochází k mírnému zlepšení.</a:t>
            </a:r>
          </a:p>
          <a:p>
            <a:pPr marL="342900" lvl="0" indent="-342900">
              <a:buFont typeface="+mj-lt"/>
              <a:buAutoNum type="arabicParenR"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  <a:p>
            <a:pPr marL="342900" lvl="0" indent="-342900">
              <a:buFont typeface="+mj-lt"/>
              <a:buAutoNum type="arabicParenR"/>
              <a:defRPr/>
            </a:pPr>
            <a:r>
              <a:rPr lang="cs-CZ" dirty="0" smtClean="0">
                <a:solidFill>
                  <a:prstClr val="black"/>
                </a:solidFill>
                <a:latin typeface="Segoe UI"/>
              </a:rPr>
              <a:t>Nemocnice </a:t>
            </a:r>
            <a:r>
              <a:rPr lang="cs-CZ" dirty="0">
                <a:solidFill>
                  <a:prstClr val="black"/>
                </a:solidFill>
                <a:latin typeface="Segoe UI"/>
              </a:rPr>
              <a:t>Nové Město n/M (VYS) hlásí plnou kapacitu JIP a hrozící mezikrajové překlady C+ pacientů</a:t>
            </a:r>
            <a:r>
              <a:rPr lang="cs-CZ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cs-CZ" dirty="0">
              <a:solidFill>
                <a:prstClr val="black"/>
              </a:solidFill>
              <a:latin typeface="Segoe U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dirty="0" smtClea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3" name="TextovéPole 2"/>
          <p:cNvSpPr txBox="1"/>
          <p:nvPr/>
        </p:nvSpPr>
        <p:spPr>
          <a:xfrm>
            <a:off x="5897634" y="1606585"/>
            <a:ext cx="525489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u="sng" dirty="0" smtClean="0">
                <a:latin typeface="Segoe UI" panose="020B0502040204020203" pitchFamily="34" charset="0"/>
                <a:cs typeface="Segoe UI" panose="020B0502040204020203" pitchFamily="34" charset="0"/>
              </a:rPr>
              <a:t>Hodnocení:</a:t>
            </a:r>
          </a:p>
          <a:p>
            <a:pPr lvl="0"/>
            <a:r>
              <a:rPr lang="cs-CZ" dirty="0" smtClean="0">
                <a:latin typeface="Segoe UI" panose="020B0502040204020203" pitchFamily="34" charset="0"/>
                <a:cs typeface="Segoe UI" panose="020B0502040204020203" pitchFamily="34" charset="0"/>
              </a:rPr>
              <a:t>Volná kapacita JIP již druhý týden stoupá a zároveň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lesá </a:t>
            </a:r>
            <a:r>
              <a:rPr lang="cs-CZ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díl C+ </a:t>
            </a:r>
            <a:r>
              <a:rPr lang="cs-CZ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cientů. Lůžka jsou, ale stále obsazena post-COVID pac.</a:t>
            </a:r>
            <a:endParaRPr lang="cs-CZ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815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ůžek s kyslíkem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520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/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9009114" y="5091561"/>
            <a:ext cx="2329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daje jsou aktuální k 19.12.2021 0:28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143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1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+Sagoe">
      <a:majorFont>
        <a:latin typeface="Arial"/>
        <a:ea typeface=""/>
        <a:cs typeface=""/>
      </a:majorFont>
      <a:minorFont>
        <a:latin typeface="Segoe U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5.xml><?xml version="1.0" encoding="utf-8"?>
<a:theme xmlns:a="http://schemas.openxmlformats.org/drawingml/2006/main" name="3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vid-reporting-20200715</Template>
  <TotalTime>23595</TotalTime>
  <Words>2487</Words>
  <Application>Microsoft Office PowerPoint</Application>
  <PresentationFormat>Širokoúhlá obrazovka</PresentationFormat>
  <Paragraphs>734</Paragraphs>
  <Slides>18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5</vt:i4>
      </vt:variant>
      <vt:variant>
        <vt:lpstr>Nadpisy snímků</vt:lpstr>
      </vt:variant>
      <vt:variant>
        <vt:i4>18</vt:i4>
      </vt:variant>
    </vt:vector>
  </HeadingPairs>
  <TitlesOfParts>
    <vt:vector size="30" baseType="lpstr">
      <vt:lpstr>Arial</vt:lpstr>
      <vt:lpstr>Arial Black</vt:lpstr>
      <vt:lpstr>Calibri</vt:lpstr>
      <vt:lpstr>Calibri Light</vt:lpstr>
      <vt:lpstr>Segoe UI</vt:lpstr>
      <vt:lpstr>Times New Roman</vt:lpstr>
      <vt:lpstr>Tw Cen MT Condensed</vt:lpstr>
      <vt:lpstr>Motiv Office</vt:lpstr>
      <vt:lpstr>1_Motiv Office</vt:lpstr>
      <vt:lpstr>Office Theme</vt:lpstr>
      <vt:lpstr>2_Motiv Office</vt:lpstr>
      <vt:lpstr>3_Motiv Office</vt:lpstr>
      <vt:lpstr>Operační briefing ICŘT   Národní dispečink lůžkové péče </vt:lpstr>
      <vt:lpstr>Národní dispečink lůžkové péče</vt:lpstr>
      <vt:lpstr>Národní dispečink lůžkové péče</vt:lpstr>
      <vt:lpstr>Národní dispečink lůžkové péče</vt:lpstr>
      <vt:lpstr>Neaktualizovaná ZZ v DIP déle než 48 h</vt:lpstr>
      <vt:lpstr>NDLP – Stav očkování u hospitalizovaných pacientů</vt:lpstr>
      <vt:lpstr>NDLP - Souhrn - aktualizace</vt:lpstr>
      <vt:lpstr>Podíl (%) volné aktuálně nahlášené kapacity standartních lůžek s kyslíkem</vt:lpstr>
      <vt:lpstr>Podíl (%) volné aktuálně nahlášené kapacity JIP</vt:lpstr>
      <vt:lpstr>Podíl (%) volné aktuálně nahlášené kapacity UPV</vt:lpstr>
      <vt:lpstr>Predikce celkového počtu hospitalizací – aktuální počet léčených </vt:lpstr>
      <vt:lpstr>Predikce počtu pacientů na JIP – aktuální počet případů </vt:lpstr>
      <vt:lpstr>VÝVOJ POČTU HOSPITALIZACÍ – CELKOVÉ A JIP – OD BŘEZNA 2020 zdroj: ÚZIS, ISIN / COVID-19 - Informační systém infekčních nemocí</vt:lpstr>
      <vt:lpstr>Risk mapping – zdroj UZIS</vt:lpstr>
      <vt:lpstr>Hodnocení situace v krajích od KKIP</vt:lpstr>
      <vt:lpstr>Hodnocení situace v krajích od KKIP</vt:lpstr>
      <vt:lpstr>Hodnocení situace v krajích od KKIP</vt:lpstr>
      <vt:lpstr>Hodnocení situace v krajích od KKI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Ondřej Růžička</cp:lastModifiedBy>
  <cp:revision>1779</cp:revision>
  <cp:lastPrinted>2020-10-20T04:21:56Z</cp:lastPrinted>
  <dcterms:created xsi:type="dcterms:W3CDTF">2020-07-15T10:33:32Z</dcterms:created>
  <dcterms:modified xsi:type="dcterms:W3CDTF">2021-12-23T10:50:46Z</dcterms:modified>
</cp:coreProperties>
</file>